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 id="2147483673" r:id="rId6"/>
  </p:sldMasterIdLst>
  <p:notesMasterIdLst>
    <p:notesMasterId r:id="rId8"/>
  </p:notesMasterIdLst>
  <p:handoutMasterIdLst>
    <p:handoutMasterId r:id="rId9"/>
  </p:handoutMasterIdLst>
  <p:sldIdLst>
    <p:sldId id="451" r:id="rId7"/>
  </p:sldIdLst>
  <p:sldSz cx="9144000" cy="6858000" type="screen4x3"/>
  <p:notesSz cx="7010400" cy="93726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40">
          <p15:clr>
            <a:srgbClr val="A4A3A4"/>
          </p15:clr>
        </p15:guide>
        <p15:guide id="2" orient="horz" pos="336" userDrawn="1">
          <p15:clr>
            <a:srgbClr val="A4A3A4"/>
          </p15:clr>
        </p15:guide>
        <p15:guide id="3" pos="216" userDrawn="1">
          <p15:clr>
            <a:srgbClr val="A4A3A4"/>
          </p15:clr>
        </p15:guide>
        <p15:guide id="4" orient="horz" pos="888" userDrawn="1">
          <p15:clr>
            <a:srgbClr val="A4A3A4"/>
          </p15:clr>
        </p15:guide>
        <p15:guide id="5" orient="horz" pos="4032" userDrawn="1">
          <p15:clr>
            <a:srgbClr val="A4A3A4"/>
          </p15:clr>
        </p15:guide>
        <p15:guide id="6" pos="116">
          <p15:clr>
            <a:srgbClr val="A4A3A4"/>
          </p15:clr>
        </p15:guide>
        <p15:guide id="7" pos="5647">
          <p15:clr>
            <a:srgbClr val="A4A3A4"/>
          </p15:clr>
        </p15:guide>
      </p15:sldGuideLst>
    </p:ext>
    <p:ext uri="{2D200454-40CA-4A62-9FC3-DE9A4176ACB9}">
      <p15:notesGuideLst xmlns:p15="http://schemas.microsoft.com/office/powerpoint/2012/main">
        <p15:guide id="1" orient="horz" pos="2952">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mjoshi, Anshul S" initials="NAS" lastIdx="18"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2C7C"/>
    <a:srgbClr val="E6A400"/>
    <a:srgbClr val="FFBC1D"/>
    <a:srgbClr val="AC2B37"/>
    <a:srgbClr val="401816"/>
    <a:srgbClr val="5C5F0B"/>
    <a:srgbClr val="B7BE16"/>
    <a:srgbClr val="A2BFAF"/>
    <a:srgbClr val="ACB7B2"/>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24" autoAdjust="0"/>
    <p:restoredTop sz="91935" autoAdjust="0"/>
  </p:normalViewPr>
  <p:slideViewPr>
    <p:cSldViewPr snapToGrid="0">
      <p:cViewPr varScale="1">
        <p:scale>
          <a:sx n="68" d="100"/>
          <a:sy n="68" d="100"/>
        </p:scale>
        <p:origin x="1518" y="72"/>
      </p:cViewPr>
      <p:guideLst>
        <p:guide orient="horz" pos="740"/>
        <p:guide orient="horz" pos="336"/>
        <p:guide pos="216"/>
        <p:guide orient="horz" pos="888"/>
        <p:guide orient="horz" pos="4032"/>
        <p:guide pos="116"/>
        <p:guide pos="564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5" d="100"/>
          <a:sy n="55" d="100"/>
        </p:scale>
        <p:origin x="-2538" y="-90"/>
      </p:cViewPr>
      <p:guideLst>
        <p:guide orient="horz" pos="2952"/>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8630"/>
          </a:xfrm>
          <a:prstGeom prst="rect">
            <a:avLst/>
          </a:prstGeom>
        </p:spPr>
        <p:txBody>
          <a:bodyPr vert="horz" lIns="93616" tIns="46808" rIns="93616" bIns="46808"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8630"/>
          </a:xfrm>
          <a:prstGeom prst="rect">
            <a:avLst/>
          </a:prstGeom>
        </p:spPr>
        <p:txBody>
          <a:bodyPr vert="horz" lIns="93616" tIns="46808" rIns="93616" bIns="46808" rtlCol="0"/>
          <a:lstStyle>
            <a:lvl1pPr algn="r">
              <a:defRPr sz="1200"/>
            </a:lvl1pPr>
          </a:lstStyle>
          <a:p>
            <a:fld id="{CBC2C562-3ABF-449F-BC7D-78255304C412}" type="datetimeFigureOut">
              <a:rPr lang="en-US" smtClean="0"/>
              <a:pPr/>
              <a:t>6/8/2018</a:t>
            </a:fld>
            <a:endParaRPr lang="en-US" dirty="0"/>
          </a:p>
        </p:txBody>
      </p:sp>
      <p:sp>
        <p:nvSpPr>
          <p:cNvPr id="4" name="Footer Placeholder 3"/>
          <p:cNvSpPr>
            <a:spLocks noGrp="1"/>
          </p:cNvSpPr>
          <p:nvPr>
            <p:ph type="ftr" sz="quarter" idx="2"/>
          </p:nvPr>
        </p:nvSpPr>
        <p:spPr>
          <a:xfrm>
            <a:off x="0" y="8902343"/>
            <a:ext cx="3037840" cy="468630"/>
          </a:xfrm>
          <a:prstGeom prst="rect">
            <a:avLst/>
          </a:prstGeom>
        </p:spPr>
        <p:txBody>
          <a:bodyPr vert="horz" lIns="93616" tIns="46808" rIns="93616" bIns="46808"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902343"/>
            <a:ext cx="3037840" cy="468630"/>
          </a:xfrm>
          <a:prstGeom prst="rect">
            <a:avLst/>
          </a:prstGeom>
        </p:spPr>
        <p:txBody>
          <a:bodyPr vert="horz" lIns="93616" tIns="46808" rIns="93616" bIns="46808" rtlCol="0" anchor="b"/>
          <a:lstStyle>
            <a:lvl1pPr algn="r">
              <a:defRPr sz="1200"/>
            </a:lvl1pPr>
          </a:lstStyle>
          <a:p>
            <a:fld id="{88C4C71A-1C17-4342-AD83-9B360BA581CB}" type="slidenum">
              <a:rPr lang="en-US" smtClean="0"/>
              <a:pPr/>
              <a:t>‹#›</a:t>
            </a:fld>
            <a:endParaRPr lang="en-US" dirty="0"/>
          </a:p>
        </p:txBody>
      </p:sp>
    </p:spTree>
    <p:extLst>
      <p:ext uri="{BB962C8B-B14F-4D97-AF65-F5344CB8AC3E}">
        <p14:creationId xmlns:p14="http://schemas.microsoft.com/office/powerpoint/2010/main" val="8551748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8630"/>
          </a:xfrm>
          <a:prstGeom prst="rect">
            <a:avLst/>
          </a:prstGeom>
        </p:spPr>
        <p:txBody>
          <a:bodyPr vert="horz" lIns="93616" tIns="46808" rIns="93616" bIns="46808" rtlCol="0"/>
          <a:lstStyle>
            <a:lvl1pPr algn="l">
              <a:defRPr sz="1200"/>
            </a:lvl1pPr>
          </a:lstStyle>
          <a:p>
            <a:endParaRPr lang="en-US" dirty="0"/>
          </a:p>
        </p:txBody>
      </p:sp>
      <p:sp>
        <p:nvSpPr>
          <p:cNvPr id="3" name="Date Placeholder 2"/>
          <p:cNvSpPr>
            <a:spLocks noGrp="1"/>
          </p:cNvSpPr>
          <p:nvPr>
            <p:ph type="dt" idx="1"/>
          </p:nvPr>
        </p:nvSpPr>
        <p:spPr>
          <a:xfrm>
            <a:off x="3970938" y="0"/>
            <a:ext cx="3037840" cy="468630"/>
          </a:xfrm>
          <a:prstGeom prst="rect">
            <a:avLst/>
          </a:prstGeom>
        </p:spPr>
        <p:txBody>
          <a:bodyPr vert="horz" lIns="93616" tIns="46808" rIns="93616" bIns="46808" rtlCol="0"/>
          <a:lstStyle>
            <a:lvl1pPr algn="r">
              <a:defRPr sz="1200"/>
            </a:lvl1pPr>
          </a:lstStyle>
          <a:p>
            <a:fld id="{6D0524E5-8614-4D32-A3DF-F32181F74545}" type="datetimeFigureOut">
              <a:rPr lang="en-US" smtClean="0"/>
              <a:pPr/>
              <a:t>6/8/2018</a:t>
            </a:fld>
            <a:endParaRPr lang="en-US" dirty="0"/>
          </a:p>
        </p:txBody>
      </p:sp>
      <p:sp>
        <p:nvSpPr>
          <p:cNvPr id="4" name="Slide Image Placeholder 3"/>
          <p:cNvSpPr>
            <a:spLocks noGrp="1" noRot="1" noChangeAspect="1"/>
          </p:cNvSpPr>
          <p:nvPr>
            <p:ph type="sldImg" idx="2"/>
          </p:nvPr>
        </p:nvSpPr>
        <p:spPr>
          <a:xfrm>
            <a:off x="1162050" y="703263"/>
            <a:ext cx="4686300" cy="3514725"/>
          </a:xfrm>
          <a:prstGeom prst="rect">
            <a:avLst/>
          </a:prstGeom>
          <a:noFill/>
          <a:ln w="12700">
            <a:solidFill>
              <a:prstClr val="black"/>
            </a:solidFill>
          </a:ln>
        </p:spPr>
        <p:txBody>
          <a:bodyPr vert="horz" lIns="93616" tIns="46808" rIns="93616" bIns="46808" rtlCol="0" anchor="ctr"/>
          <a:lstStyle/>
          <a:p>
            <a:endParaRPr lang="en-US" dirty="0"/>
          </a:p>
        </p:txBody>
      </p:sp>
      <p:sp>
        <p:nvSpPr>
          <p:cNvPr id="5" name="Notes Placeholder 4"/>
          <p:cNvSpPr>
            <a:spLocks noGrp="1"/>
          </p:cNvSpPr>
          <p:nvPr>
            <p:ph type="body" sz="quarter" idx="3"/>
          </p:nvPr>
        </p:nvSpPr>
        <p:spPr>
          <a:xfrm>
            <a:off x="701040" y="4451985"/>
            <a:ext cx="5608320" cy="4217670"/>
          </a:xfrm>
          <a:prstGeom prst="rect">
            <a:avLst/>
          </a:prstGeom>
        </p:spPr>
        <p:txBody>
          <a:bodyPr vert="horz" lIns="93616" tIns="46808" rIns="93616" bIns="4680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902343"/>
            <a:ext cx="3037840" cy="468630"/>
          </a:xfrm>
          <a:prstGeom prst="rect">
            <a:avLst/>
          </a:prstGeom>
        </p:spPr>
        <p:txBody>
          <a:bodyPr vert="horz" lIns="93616" tIns="46808" rIns="93616" bIns="46808"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902343"/>
            <a:ext cx="3037840" cy="468630"/>
          </a:xfrm>
          <a:prstGeom prst="rect">
            <a:avLst/>
          </a:prstGeom>
        </p:spPr>
        <p:txBody>
          <a:bodyPr vert="horz" lIns="93616" tIns="46808" rIns="93616" bIns="46808" rtlCol="0" anchor="b"/>
          <a:lstStyle>
            <a:lvl1pPr algn="r">
              <a:defRPr sz="1200"/>
            </a:lvl1pPr>
          </a:lstStyle>
          <a:p>
            <a:fld id="{9FF4F04D-5809-46B9-BC34-D0E45399D316}" type="slidenum">
              <a:rPr lang="en-US" smtClean="0"/>
              <a:pPr/>
              <a:t>‹#›</a:t>
            </a:fld>
            <a:endParaRPr lang="en-US" dirty="0"/>
          </a:p>
        </p:txBody>
      </p:sp>
    </p:spTree>
    <p:extLst>
      <p:ext uri="{BB962C8B-B14F-4D97-AF65-F5344CB8AC3E}">
        <p14:creationId xmlns:p14="http://schemas.microsoft.com/office/powerpoint/2010/main" val="31103741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1</a:t>
            </a:fld>
            <a:endParaRPr lang="en-US" dirty="0"/>
          </a:p>
        </p:txBody>
      </p:sp>
    </p:spTree>
    <p:extLst>
      <p:ext uri="{BB962C8B-B14F-4D97-AF65-F5344CB8AC3E}">
        <p14:creationId xmlns:p14="http://schemas.microsoft.com/office/powerpoint/2010/main" val="274771455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jpe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4.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image" Target="../media/image2.emf"/><Relationship Id="rId5" Type="http://schemas.openxmlformats.org/officeDocument/2006/relationships/tags" Target="../tags/tag6.xml"/><Relationship Id="rId10" Type="http://schemas.openxmlformats.org/officeDocument/2006/relationships/oleObject" Target="../embeddings/oleObject1.bin"/><Relationship Id="rId4" Type="http://schemas.openxmlformats.org/officeDocument/2006/relationships/tags" Target="../tags/tag5.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9.xml"/><Relationship Id="rId7"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image" Target="../media/image9.png"/><Relationship Id="rId4" Type="http://schemas.openxmlformats.org/officeDocument/2006/relationships/tags" Target="../tags/tag20.xml"/><Relationship Id="rId9"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4.xml"/><Relationship Id="rId7"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5.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9.png"/><Relationship Id="rId4" Type="http://schemas.openxmlformats.org/officeDocument/2006/relationships/tags" Target="../tags/tag35.xml"/><Relationship Id="rId9"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9.png"/><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6.jpe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6.xml"/><Relationship Id="rId7" Type="http://schemas.openxmlformats.org/officeDocument/2006/relationships/oleObject" Target="../embeddings/oleObject2.bin"/><Relationship Id="rId2" Type="http://schemas.openxmlformats.org/officeDocument/2006/relationships/tags" Target="../tags/tag15.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8" name="Picture 17" descr="route1.jpg"/>
          <p:cNvPicPr>
            <a:picLocks noChangeAspect="1"/>
          </p:cNvPicPr>
          <p:nvPr userDrawn="1"/>
        </p:nvPicPr>
        <p:blipFill rotWithShape="1">
          <a:blip r:embed="rId9" cstate="print"/>
          <a:srcRect l="141" t="1009" r="7500" b="10137"/>
          <a:stretch/>
        </p:blipFill>
        <p:spPr>
          <a:xfrm>
            <a:off x="-2052" y="990600"/>
            <a:ext cx="9146052" cy="5867400"/>
          </a:xfrm>
          <a:prstGeom prst="rect">
            <a:avLst/>
          </a:prstGeom>
        </p:spPr>
      </p:pic>
      <p:sp>
        <p:nvSpPr>
          <p:cNvPr id="10" name="Rectangle 7"/>
          <p:cNvSpPr/>
          <p:nvPr userDrawn="1">
            <p:custDataLst>
              <p:tags r:id="rId2"/>
            </p:custDataLst>
          </p:nvPr>
        </p:nvSpPr>
        <p:spPr bwMode="auto">
          <a:xfrm>
            <a:off x="-1" y="-659"/>
            <a:ext cx="9144530" cy="176274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95432" h="4325468">
                <a:moveTo>
                  <a:pt x="3" y="0"/>
                </a:moveTo>
                <a:lnTo>
                  <a:pt x="21694177" y="21891"/>
                </a:lnTo>
                <a:cubicBezTo>
                  <a:pt x="21694690" y="89491"/>
                  <a:pt x="21695431" y="3122758"/>
                  <a:pt x="21694177" y="3166173"/>
                </a:cubicBezTo>
                <a:cubicBezTo>
                  <a:pt x="21550078" y="3591064"/>
                  <a:pt x="21159648" y="3545215"/>
                  <a:pt x="20899886" y="3551158"/>
                </a:cubicBezTo>
                <a:lnTo>
                  <a:pt x="4219849" y="3526990"/>
                </a:lnTo>
                <a:cubicBezTo>
                  <a:pt x="3642635" y="3560132"/>
                  <a:pt x="3268256" y="3862646"/>
                  <a:pt x="3076647" y="4325468"/>
                </a:cubicBezTo>
                <a:cubicBezTo>
                  <a:pt x="2778293" y="3621691"/>
                  <a:pt x="2180933" y="3526112"/>
                  <a:pt x="1902293" y="3526990"/>
                </a:cubicBezTo>
                <a:lnTo>
                  <a:pt x="5" y="3526990"/>
                </a:lnTo>
                <a:cubicBezTo>
                  <a:pt x="227" y="3165111"/>
                  <a:pt x="1" y="1026327"/>
                  <a:pt x="3"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4" name="Object 3" hidden="1"/>
          <p:cNvGraphicFramePr>
            <a:graphicFrameLocks noChangeAspect="1"/>
          </p:cNvGraphicFramePr>
          <p:nvPr>
            <p:custDataLst>
              <p:tags r:id="rId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54658" name="think-cell Slide" r:id="rId10" imgW="360" imgH="360" progId="">
                  <p:embed/>
                </p:oleObj>
              </mc:Choice>
              <mc:Fallback>
                <p:oleObj name="think-cell Slide" r:id="rId10" imgW="360" imgH="360" progId="">
                  <p:embed/>
                  <p:pic>
                    <p:nvPicPr>
                      <p:cNvPr id="0" name="Picture 27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4"/>
            </p:custDataLst>
          </p:nvPr>
        </p:nvSpPr>
        <p:spPr>
          <a:xfrm>
            <a:off x="5048518" y="2683036"/>
            <a:ext cx="4095482" cy="1700698"/>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5"/>
            </p:custDataLst>
          </p:nvPr>
        </p:nvSpPr>
        <p:spPr>
          <a:xfrm>
            <a:off x="5048518" y="4609876"/>
            <a:ext cx="4095483"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1" name="Rectangle 10"/>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5807786" y="6520694"/>
            <a:ext cx="3001425" cy="239021"/>
          </a:xfrm>
          <a:prstGeom prst="rect">
            <a:avLst/>
          </a:prstGeom>
          <a:noFill/>
        </p:spPr>
      </p:pic>
      <p:pic>
        <p:nvPicPr>
          <p:cNvPr id="15" name="Picture 14" descr="capgemini_rgb.jpg"/>
          <p:cNvPicPr>
            <a:picLocks noChangeAspect="1"/>
          </p:cNvPicPr>
          <p:nvPr userDrawn="1"/>
        </p:nvPicPr>
        <p:blipFill>
          <a:blip r:embed="rId13" cstate="print"/>
          <a:stretch>
            <a:fillRect/>
          </a:stretch>
        </p:blipFill>
        <p:spPr>
          <a:xfrm>
            <a:off x="476250" y="348898"/>
            <a:ext cx="2355850" cy="720182"/>
          </a:xfrm>
          <a:prstGeom prst="rect">
            <a:avLst/>
          </a:prstGeom>
        </p:spPr>
      </p:pic>
    </p:spTree>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200" b="1"/>
            </a:lvl1pPr>
          </a:lstStyle>
          <a:p>
            <a:r>
              <a:rPr lang="en-US" smtClean="0"/>
              <a:t>Click to edit Master title style</a:t>
            </a:r>
            <a:endParaRPr lang="en-US" dirty="0"/>
          </a:p>
        </p:txBody>
      </p:sp>
      <p:sp>
        <p:nvSpPr>
          <p:cNvPr id="3" name="Content Placeholder 2"/>
          <p:cNvSpPr>
            <a:spLocks noGrp="1"/>
          </p:cNvSpPr>
          <p:nvPr>
            <p:ph idx="1"/>
          </p:nvPr>
        </p:nvSpPr>
        <p:spPr>
          <a:xfrm>
            <a:off x="3575050" y="273051"/>
            <a:ext cx="5111751" cy="5853113"/>
          </a:xfrm>
        </p:spPr>
        <p:txBody>
          <a:bodyPr>
            <a:noAutofit/>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1" y="1573620"/>
            <a:ext cx="3008313" cy="507831"/>
          </a:xfrm>
        </p:spPr>
        <p:txBody>
          <a:bodyPr/>
          <a:lstStyle>
            <a:lvl1pPr marL="0" indent="0">
              <a:buNone/>
              <a:defRPr sz="1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a:p>
            <a:pPr lvl="1"/>
            <a:r>
              <a:rPr lang="en-US" smtClean="0"/>
              <a:t>Second level</a:t>
            </a:r>
          </a:p>
        </p:txBody>
      </p:sp>
      <p:pic>
        <p:nvPicPr>
          <p:cNvPr id="8" name="Picture 4" descr="capgemini_rgb-[Converted]"/>
          <p:cNvPicPr>
            <a:picLocks noChangeAspect="1" noChangeArrowheads="1"/>
          </p:cNvPicPr>
          <p:nvPr userDrawn="1"/>
        </p:nvPicPr>
        <p:blipFill>
          <a:blip r:embed="rId2" cstate="print"/>
          <a:srcRect/>
          <a:stretch>
            <a:fillRect/>
          </a:stretch>
        </p:blipFill>
        <p:spPr bwMode="gray">
          <a:xfrm>
            <a:off x="273049" y="6451601"/>
            <a:ext cx="1289051" cy="301625"/>
          </a:xfrm>
          <a:prstGeom prst="rect">
            <a:avLst/>
          </a:prstGeom>
          <a:noFill/>
          <a:ln w="9525">
            <a:noFill/>
            <a:miter lim="800000"/>
            <a:headEnd/>
            <a:tailEnd/>
          </a:ln>
        </p:spPr>
      </p:pic>
      <p:sp>
        <p:nvSpPr>
          <p:cNvPr id="9" name="Text Box 5"/>
          <p:cNvSpPr txBox="1">
            <a:spLocks noChangeArrowheads="1"/>
          </p:cNvSpPr>
          <p:nvPr userDrawn="1"/>
        </p:nvSpPr>
        <p:spPr bwMode="gray">
          <a:xfrm>
            <a:off x="1571625" y="6491288"/>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dirty="0">
                <a:solidFill>
                  <a:srgbClr val="969696"/>
                </a:solidFill>
              </a:rPr>
              <a:t>In collaboration with</a:t>
            </a:r>
          </a:p>
        </p:txBody>
      </p:sp>
      <p:sp>
        <p:nvSpPr>
          <p:cNvPr id="10" name="Rectangle 6"/>
          <p:cNvSpPr>
            <a:spLocks noChangeArrowheads="1"/>
          </p:cNvSpPr>
          <p:nvPr userDrawn="1"/>
        </p:nvSpPr>
        <p:spPr bwMode="gray">
          <a:xfrm>
            <a:off x="2927351" y="6400801"/>
            <a:ext cx="1020763" cy="403225"/>
          </a:xfrm>
          <a:prstGeom prst="rect">
            <a:avLst/>
          </a:prstGeom>
          <a:noFill/>
          <a:ln w="19050">
            <a:solidFill>
              <a:srgbClr val="B2B2B2"/>
            </a:solidFill>
            <a:prstDash val="sysDot"/>
            <a:miter lim="800000"/>
            <a:headEnd/>
            <a:tailEnd/>
          </a:ln>
          <a:effectLst/>
        </p:spPr>
        <p:txBody>
          <a:bodyPr wrap="none" anchor="ctr"/>
          <a:lstStyle/>
          <a:p>
            <a:r>
              <a:rPr lang="en-US" sz="1000" dirty="0">
                <a:solidFill>
                  <a:srgbClr val="969696"/>
                </a:solidFill>
              </a:rPr>
              <a:t>Client or</a:t>
            </a:r>
            <a:br>
              <a:rPr lang="en-US" sz="1000" dirty="0">
                <a:solidFill>
                  <a:srgbClr val="969696"/>
                </a:solidFill>
              </a:rPr>
            </a:br>
            <a:r>
              <a:rPr lang="en-US" sz="1000" dirty="0">
                <a:solidFill>
                  <a:srgbClr val="969696"/>
                </a:solidFill>
              </a:rPr>
              <a:t>Partner logo</a:t>
            </a:r>
          </a:p>
        </p:txBody>
      </p:sp>
      <p:sp>
        <p:nvSpPr>
          <p:cNvPr id="11" name="Line 7"/>
          <p:cNvSpPr>
            <a:spLocks noChangeShapeType="1"/>
          </p:cNvSpPr>
          <p:nvPr userDrawn="1"/>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dirty="0"/>
          </a:p>
        </p:txBody>
      </p:sp>
      <p:sp>
        <p:nvSpPr>
          <p:cNvPr id="12" name="Text Box 8"/>
          <p:cNvSpPr txBox="1">
            <a:spLocks noChangeArrowheads="1"/>
          </p:cNvSpPr>
          <p:nvPr userDrawn="1"/>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3" name="Text Box 9"/>
          <p:cNvSpPr txBox="1">
            <a:spLocks noChangeArrowheads="1"/>
          </p:cNvSpPr>
          <p:nvPr userDrawn="1"/>
        </p:nvSpPr>
        <p:spPr bwMode="gray">
          <a:xfrm>
            <a:off x="4106863" y="6484938"/>
            <a:ext cx="4551363" cy="275460"/>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smtClean="0">
                <a:solidFill>
                  <a:srgbClr val="969696"/>
                </a:solidFill>
                <a:latin typeface="Arial Narrow" pitchFamily="34" charset="0"/>
              </a:rPr>
              <a:t>The information contained in this document is proprietary. Copyright © 2011 Capgemini. All rights reserved.</a:t>
            </a:r>
            <a:endParaRPr lang="en-US" sz="600" dirty="0">
              <a:solidFill>
                <a:srgbClr val="969696"/>
              </a:solidFill>
              <a:latin typeface="Arial Narrow" pitchFamily="34" charset="0"/>
            </a:endParaRPr>
          </a:p>
        </p:txBody>
      </p:sp>
      <p:cxnSp>
        <p:nvCxnSpPr>
          <p:cNvPr id="16" name="Straight Connector 15"/>
          <p:cNvCxnSpPr/>
          <p:nvPr userDrawn="1"/>
        </p:nvCxnSpPr>
        <p:spPr>
          <a:xfrm rot="5400000">
            <a:off x="524707" y="3164093"/>
            <a:ext cx="5987940" cy="158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1201483"/>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Placeholder 1"/>
          <p:cNvSpPr>
            <a:spLocks noGrp="1"/>
          </p:cNvSpPr>
          <p:nvPr>
            <p:ph type="title"/>
          </p:nvPr>
        </p:nvSpPr>
        <p:spPr>
          <a:xfrm>
            <a:off x="320040" y="25263"/>
            <a:ext cx="8503920" cy="822960"/>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p>
            <a:r>
              <a:rPr lang="en-US" smtClean="0"/>
              <a:t>Click to edit Master title style</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r">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7438968" y="1005841"/>
            <a:ext cx="1384995" cy="518230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15" name="Text Box 5"/>
          <p:cNvSpPr txBox="1">
            <a:spLocks noChangeArrowheads="1"/>
          </p:cNvSpPr>
          <p:nvPr userDrawn="1"/>
        </p:nvSpPr>
        <p:spPr bwMode="gray">
          <a:xfrm rot="5400000">
            <a:off x="-381606" y="2135545"/>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dirty="0">
                <a:solidFill>
                  <a:srgbClr val="969696"/>
                </a:solidFill>
              </a:rPr>
              <a:t>In collaboration with</a:t>
            </a:r>
          </a:p>
        </p:txBody>
      </p:sp>
      <p:sp>
        <p:nvSpPr>
          <p:cNvPr id="16" name="Rectangle 6"/>
          <p:cNvSpPr>
            <a:spLocks noChangeArrowheads="1"/>
          </p:cNvSpPr>
          <p:nvPr userDrawn="1"/>
        </p:nvSpPr>
        <p:spPr bwMode="gray">
          <a:xfrm rot="5400000">
            <a:off x="-236198" y="3261528"/>
            <a:ext cx="1020763" cy="403225"/>
          </a:xfrm>
          <a:prstGeom prst="rect">
            <a:avLst/>
          </a:prstGeom>
          <a:noFill/>
          <a:ln w="19050">
            <a:solidFill>
              <a:srgbClr val="B2B2B2"/>
            </a:solidFill>
            <a:prstDash val="sysDot"/>
            <a:miter lim="800000"/>
            <a:headEnd/>
            <a:tailEnd/>
          </a:ln>
          <a:effectLst/>
        </p:spPr>
        <p:txBody>
          <a:bodyPr wrap="none" anchor="ctr"/>
          <a:lstStyle/>
          <a:p>
            <a:r>
              <a:rPr lang="en-US" sz="1000" dirty="0">
                <a:solidFill>
                  <a:srgbClr val="969696"/>
                </a:solidFill>
              </a:rPr>
              <a:t>Client or</a:t>
            </a:r>
            <a:br>
              <a:rPr lang="en-US" sz="1000" dirty="0">
                <a:solidFill>
                  <a:srgbClr val="969696"/>
                </a:solidFill>
              </a:rPr>
            </a:br>
            <a:r>
              <a:rPr lang="en-US" sz="1000" dirty="0">
                <a:solidFill>
                  <a:srgbClr val="969696"/>
                </a:solidFill>
              </a:rPr>
              <a:t>Partner logo</a:t>
            </a:r>
          </a:p>
        </p:txBody>
      </p:sp>
      <p:sp>
        <p:nvSpPr>
          <p:cNvPr id="17" name="Line 7"/>
          <p:cNvSpPr>
            <a:spLocks noChangeShapeType="1"/>
          </p:cNvSpPr>
          <p:nvPr userDrawn="1"/>
        </p:nvSpPr>
        <p:spPr bwMode="gray">
          <a:xfrm rot="5400000">
            <a:off x="274183" y="6303903"/>
            <a:ext cx="0" cy="239712"/>
          </a:xfrm>
          <a:prstGeom prst="line">
            <a:avLst/>
          </a:prstGeom>
          <a:noFill/>
          <a:ln w="9525">
            <a:solidFill>
              <a:srgbClr val="969696"/>
            </a:solidFill>
            <a:round/>
            <a:headEnd/>
            <a:tailEnd/>
          </a:ln>
          <a:effectLst/>
        </p:spPr>
        <p:txBody>
          <a:bodyPr wrap="none" anchor="ctr"/>
          <a:lstStyle/>
          <a:p>
            <a:endParaRPr lang="en-US" dirty="0"/>
          </a:p>
        </p:txBody>
      </p:sp>
      <p:sp>
        <p:nvSpPr>
          <p:cNvPr id="18" name="Text Box 8"/>
          <p:cNvSpPr txBox="1">
            <a:spLocks noChangeArrowheads="1"/>
          </p:cNvSpPr>
          <p:nvPr userDrawn="1"/>
        </p:nvSpPr>
        <p:spPr bwMode="gray">
          <a:xfrm rot="5400000">
            <a:off x="47966" y="6528534"/>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9" name="Text Box 9"/>
          <p:cNvSpPr txBox="1">
            <a:spLocks noChangeArrowheads="1"/>
          </p:cNvSpPr>
          <p:nvPr userDrawn="1"/>
        </p:nvSpPr>
        <p:spPr bwMode="gray">
          <a:xfrm rot="5400000">
            <a:off x="-666778" y="5272489"/>
            <a:ext cx="1881922" cy="353943"/>
          </a:xfrm>
          <a:prstGeom prst="rect">
            <a:avLst/>
          </a:prstGeom>
          <a:noFill/>
          <a:ln w="12700" algn="ctr">
            <a:noFill/>
            <a:miter lim="800000"/>
            <a:headEnd/>
            <a:tailEnd type="none" w="lg" len="lg"/>
          </a:ln>
          <a:effectLst/>
        </p:spPr>
        <p:txBody>
          <a:bodyPr wrap="square">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smtClean="0">
                <a:solidFill>
                  <a:srgbClr val="969696"/>
                </a:solidFill>
                <a:latin typeface="Arial Narrow" pitchFamily="34" charset="0"/>
              </a:rPr>
              <a:t>The information contained in this document is proprietary. Copyright © 2012 Capgemini. All rights reserved.</a:t>
            </a:r>
            <a:endParaRPr lang="en-US" sz="600" dirty="0">
              <a:solidFill>
                <a:srgbClr val="969696"/>
              </a:solidFill>
              <a:latin typeface="Arial Narrow" pitchFamily="34" charset="0"/>
            </a:endParaRPr>
          </a:p>
        </p:txBody>
      </p:sp>
      <p:sp>
        <p:nvSpPr>
          <p:cNvPr id="2" name="Vertical Title 1"/>
          <p:cNvSpPr>
            <a:spLocks noGrp="1"/>
          </p:cNvSpPr>
          <p:nvPr userDrawn="1">
            <p:ph type="title" orient="vert"/>
          </p:nvPr>
        </p:nvSpPr>
        <p:spPr>
          <a:xfrm>
            <a:off x="8144556" y="274639"/>
            <a:ext cx="925033" cy="6285819"/>
          </a:xfrm>
        </p:spPr>
        <p:txBody>
          <a:bodyPr vert="eaVert"/>
          <a:lstStyle/>
          <a:p>
            <a:r>
              <a:rPr lang="en-US" smtClean="0"/>
              <a:t>Click to edit Master title style</a:t>
            </a:r>
            <a:endParaRPr lang="en-US" dirty="0"/>
          </a:p>
        </p:txBody>
      </p:sp>
      <p:sp>
        <p:nvSpPr>
          <p:cNvPr id="3" name="Vertical Text Placeholder 2"/>
          <p:cNvSpPr>
            <a:spLocks noGrp="1"/>
          </p:cNvSpPr>
          <p:nvPr userDrawn="1">
            <p:ph type="body" orient="vert" idx="1"/>
          </p:nvPr>
        </p:nvSpPr>
        <p:spPr>
          <a:xfrm>
            <a:off x="6586951" y="274639"/>
            <a:ext cx="1384995" cy="628581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3" name="Group 12"/>
          <p:cNvGrpSpPr/>
          <p:nvPr userDrawn="1"/>
        </p:nvGrpSpPr>
        <p:grpSpPr>
          <a:xfrm>
            <a:off x="8069937" y="1589"/>
            <a:ext cx="1" cy="6858000"/>
            <a:chOff x="8069935" y="1589"/>
            <a:chExt cx="1" cy="6858000"/>
          </a:xfrm>
        </p:grpSpPr>
        <p:sp>
          <p:nvSpPr>
            <p:cNvPr id="8" name="Line 12"/>
            <p:cNvSpPr>
              <a:spLocks noChangeShapeType="1"/>
            </p:cNvSpPr>
            <p:nvPr userDrawn="1"/>
          </p:nvSpPr>
          <p:spPr bwMode="gray">
            <a:xfrm rot="5400000">
              <a:off x="4640935" y="3430589"/>
              <a:ext cx="6858000" cy="0"/>
            </a:xfrm>
            <a:prstGeom prst="line">
              <a:avLst/>
            </a:prstGeom>
            <a:noFill/>
            <a:ln w="9525">
              <a:solidFill>
                <a:schemeClr val="bg2"/>
              </a:solidFill>
              <a:round/>
              <a:headEnd/>
              <a:tailEnd/>
            </a:ln>
            <a:effectLst/>
          </p:spPr>
          <p:txBody>
            <a:bodyPr wrap="none" anchor="ctr"/>
            <a:lstStyle/>
            <a:p>
              <a:endParaRPr lang="en-US" dirty="0"/>
            </a:p>
          </p:txBody>
        </p:sp>
        <p:sp>
          <p:nvSpPr>
            <p:cNvPr id="9" name="Line 13"/>
            <p:cNvSpPr>
              <a:spLocks noChangeShapeType="1"/>
            </p:cNvSpPr>
            <p:nvPr userDrawn="1"/>
          </p:nvSpPr>
          <p:spPr bwMode="gray">
            <a:xfrm rot="5400000">
              <a:off x="6861848" y="1482726"/>
              <a:ext cx="2416175" cy="0"/>
            </a:xfrm>
            <a:prstGeom prst="line">
              <a:avLst/>
            </a:prstGeom>
            <a:noFill/>
            <a:ln w="28575">
              <a:solidFill>
                <a:schemeClr val="bg2"/>
              </a:solidFill>
              <a:round/>
              <a:headEnd/>
              <a:tailEnd/>
            </a:ln>
            <a:effectLst/>
          </p:spPr>
          <p:txBody>
            <a:bodyPr wrap="none" anchor="ctr"/>
            <a:lstStyle/>
            <a:p>
              <a:endParaRPr lang="en-US" dirty="0"/>
            </a:p>
          </p:txBody>
        </p:sp>
      </p:grpSp>
      <p:pic>
        <p:nvPicPr>
          <p:cNvPr id="14" name="Picture 4" descr="capgemini_rgb-[Converted]"/>
          <p:cNvPicPr>
            <a:picLocks noChangeAspect="1" noChangeArrowheads="1"/>
          </p:cNvPicPr>
          <p:nvPr userDrawn="1"/>
        </p:nvPicPr>
        <p:blipFill>
          <a:blip r:embed="rId2" cstate="print"/>
          <a:srcRect/>
          <a:stretch>
            <a:fillRect/>
          </a:stretch>
        </p:blipFill>
        <p:spPr bwMode="gray">
          <a:xfrm rot="5400000">
            <a:off x="-370342" y="768352"/>
            <a:ext cx="1289050" cy="301625"/>
          </a:xfrm>
          <a:prstGeom prst="rect">
            <a:avLst/>
          </a:prstGeom>
          <a:noFill/>
          <a:ln w="9525">
            <a:noFill/>
            <a:miter lim="800000"/>
            <a:headEnd/>
            <a:tailEnd/>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67921" name="think-cell Slide" r:id="rId8" imgW="360" imgH="360" progId="">
                  <p:embed/>
                </p:oleObj>
              </mc:Choice>
              <mc:Fallback>
                <p:oleObj name="think-cell Slide" r:id="rId8" imgW="360" imgH="360" progId="">
                  <p:embed/>
                  <p:pic>
                    <p:nvPicPr>
                      <p:cNvPr id="0" name="Picture 22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6"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6" name="Rectangle 9"/>
          <p:cNvSpPr>
            <a:spLocks noChangeArrowheads="1"/>
          </p:cNvSpPr>
          <p:nvPr userDrawn="1">
            <p:custDataLst>
              <p:tags r:id="rId4"/>
            </p:custDataLst>
          </p:nvPr>
        </p:nvSpPr>
        <p:spPr bwMode="gray">
          <a:xfrm>
            <a:off x="1031966" y="3827544"/>
            <a:ext cx="4074108"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US" sz="1000" dirty="0" smtClean="0">
                <a:solidFill>
                  <a:schemeClr val="bg1"/>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pPr marL="0" indent="0" algn="l"/>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 Learn more about us at www.capgemini.com.</a:t>
            </a:r>
          </a:p>
          <a:p>
            <a:pPr marL="0" indent="0" algn="l"/>
            <a:endParaRPr lang="en-US" sz="105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9" name="Image 337" descr="CBE_Label_ppt.png"/>
          <p:cNvPicPr>
            <a:picLocks noChangeAspect="1"/>
          </p:cNvPicPr>
          <p:nvPr userDrawn="1"/>
        </p:nvPicPr>
        <p:blipFill>
          <a:blip r:embed="rId10" cstate="print"/>
          <a:stretch>
            <a:fillRect/>
          </a:stretch>
        </p:blipFill>
        <p:spPr>
          <a:xfrm>
            <a:off x="775578" y="3395465"/>
            <a:ext cx="519570" cy="523727"/>
          </a:xfrm>
          <a:prstGeom prst="rect">
            <a:avLst/>
          </a:prstGeom>
          <a:noFill/>
          <a:ln>
            <a:noFill/>
          </a:ln>
        </p:spPr>
      </p:pic>
    </p:spTree>
    <p:extLst>
      <p:ext uri="{BB962C8B-B14F-4D97-AF65-F5344CB8AC3E}">
        <p14:creationId xmlns:p14="http://schemas.microsoft.com/office/powerpoint/2010/main" val="4140451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57729" name="think-cell Slide" r:id="rId8" imgW="360" imgH="360" progId="">
                  <p:embed/>
                </p:oleObj>
              </mc:Choice>
              <mc:Fallback>
                <p:oleObj name="think-cell Slide" r:id="rId8" imgW="360" imgH="360" progId="">
                  <p:embed/>
                  <p:pic>
                    <p:nvPicPr>
                      <p:cNvPr id="0" name="Picture 27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6"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6" name="Rectangle 9"/>
          <p:cNvSpPr>
            <a:spLocks noChangeArrowheads="1"/>
          </p:cNvSpPr>
          <p:nvPr userDrawn="1">
            <p:custDataLst>
              <p:tags r:id="rId4"/>
            </p:custDataLst>
          </p:nvPr>
        </p:nvSpPr>
        <p:spPr bwMode="gray">
          <a:xfrm>
            <a:off x="1031966" y="3827544"/>
            <a:ext cx="4074108"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US" sz="1000" dirty="0" smtClean="0">
                <a:solidFill>
                  <a:schemeClr val="bg1"/>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pPr marL="0" indent="0" algn="l"/>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 Learn more about us at www.capgemini.com.</a:t>
            </a:r>
          </a:p>
          <a:p>
            <a:pPr marL="0" indent="0" algn="l"/>
            <a:endParaRPr lang="en-US" sz="105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9" name="Image 337" descr="CBE_Label_ppt.png"/>
          <p:cNvPicPr>
            <a:picLocks noChangeAspect="1"/>
          </p:cNvPicPr>
          <p:nvPr userDrawn="1"/>
        </p:nvPicPr>
        <p:blipFill>
          <a:blip r:embed="rId10" cstate="print"/>
          <a:stretch>
            <a:fillRect/>
          </a:stretch>
        </p:blipFill>
        <p:spPr>
          <a:xfrm>
            <a:off x="775578" y="3395465"/>
            <a:ext cx="519570" cy="523727"/>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sp>
        <p:nvSpPr>
          <p:cNvPr id="8" name="Rectangle 9"/>
          <p:cNvSpPr>
            <a:spLocks noChangeArrowheads="1"/>
          </p:cNvSpPr>
          <p:nvPr userDrawn="1">
            <p:custDataLst>
              <p:tags r:id="rId2"/>
            </p:custDataLst>
          </p:nvPr>
        </p:nvSpPr>
        <p:spPr bwMode="gray">
          <a:xfrm>
            <a:off x="4584545" y="3083752"/>
            <a:ext cx="4559456"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514900 w 4514900"/>
              <a:gd name="connsiteY0" fmla="*/ 2132777 h 2132777"/>
              <a:gd name="connsiteX1" fmla="*/ 164137 w 4514900"/>
              <a:gd name="connsiteY1" fmla="*/ 2132777 h 2132777"/>
              <a:gd name="connsiteX2" fmla="*/ 48075 w 4514900"/>
              <a:gd name="connsiteY2" fmla="*/ 2084702 h 2132777"/>
              <a:gd name="connsiteX3" fmla="*/ 0 w 4514900"/>
              <a:gd name="connsiteY3" fmla="*/ 1968640 h 2132777"/>
              <a:gd name="connsiteX4" fmla="*/ 0 w 451490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4900" h="2132777">
                <a:moveTo>
                  <a:pt x="451490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4572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US" sz="1000" dirty="0" smtClean="0">
                <a:solidFill>
                  <a:schemeClr val="bg1"/>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pPr marL="0" indent="0" algn="l"/>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 its worldwide delivery model. </a:t>
            </a:r>
            <a:br>
              <a:rPr lang="en-US" sz="1000" dirty="0" smtClean="0">
                <a:solidFill>
                  <a:schemeClr val="bg1"/>
                </a:solidFill>
                <a:latin typeface="Arial" pitchFamily="34" charset="0"/>
                <a:cs typeface="Arial" pitchFamily="34" charset="0"/>
              </a:rPr>
            </a:br>
            <a:r>
              <a:rPr lang="en-US" sz="1000" dirty="0" smtClean="0">
                <a:solidFill>
                  <a:schemeClr val="bg1"/>
                </a:solidFill>
                <a:latin typeface="Arial" pitchFamily="34" charset="0"/>
                <a:cs typeface="Arial" pitchFamily="34" charset="0"/>
              </a:rPr>
              <a:t>Learn more about us at www.capgemini.com.</a:t>
            </a:r>
          </a:p>
          <a:p>
            <a:pPr marL="0" indent="0" algn="just"/>
            <a:endParaRPr lang="en-US" sz="105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graphicFrame>
        <p:nvGraphicFramePr>
          <p:cNvPr id="6" name="Object 5" hidden="1"/>
          <p:cNvGraphicFramePr>
            <a:graphicFrameLocks noChangeAspect="1"/>
          </p:cNvGraphicFramePr>
          <p:nvPr>
            <p:custDataLst>
              <p:tags r:id="rId3"/>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58753" name="think-cell Slide" r:id="rId5" imgW="360" imgH="360" progId="">
                  <p:embed/>
                </p:oleObj>
              </mc:Choice>
              <mc:Fallback>
                <p:oleObj name="think-cell Slide" r:id="rId5" imgW="360" imgH="360" progId="">
                  <p:embed/>
                  <p:pic>
                    <p:nvPicPr>
                      <p:cNvPr id="0" name="Picture 27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Image 6" descr="CBE_Label_ppt.png"/>
          <p:cNvPicPr>
            <a:picLocks noChangeAspect="1"/>
          </p:cNvPicPr>
          <p:nvPr userDrawn="1"/>
        </p:nvPicPr>
        <p:blipFill>
          <a:blip r:embed="rId7" cstate="print"/>
          <a:stretch>
            <a:fillRect/>
          </a:stretch>
        </p:blipFill>
        <p:spPr>
          <a:xfrm>
            <a:off x="4318149" y="2791400"/>
            <a:ext cx="519570" cy="523727"/>
          </a:xfrm>
          <a:prstGeom prst="rect">
            <a:avLst/>
          </a:prstGeom>
          <a:noFill/>
          <a:ln>
            <a:noFill/>
          </a:ln>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20040" y="1171977"/>
            <a:ext cx="850392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9777" name="think-cell Slide" r:id="rId4" imgW="360" imgH="360" progId="">
                  <p:embed/>
                </p:oleObj>
              </mc:Choice>
              <mc:Fallback>
                <p:oleObj name="think-cell Slide" r:id="rId4" imgW="360" imgH="360" progId="">
                  <p:embed/>
                  <p:pic>
                    <p:nvPicPr>
                      <p:cNvPr id="0" name="Picture 27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161D8D8-0EAD-40E3-B89A-F66DB7C9789B}" type="datetimeFigureOut">
              <a:rPr lang="en-US" smtClean="0"/>
              <a:t>6/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161D8D8-0EAD-40E3-B89A-F66DB7C9789B}" type="datetimeFigureOut">
              <a:rPr lang="en-US" smtClean="0"/>
              <a:t>6/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161D8D8-0EAD-40E3-B89A-F66DB7C9789B}" type="datetimeFigureOut">
              <a:rPr lang="en-US" smtClean="0"/>
              <a:t>6/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161D8D8-0EAD-40E3-B89A-F66DB7C9789B}" type="datetimeFigureOut">
              <a:rPr lang="en-US" smtClean="0"/>
              <a:t>6/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161D8D8-0EAD-40E3-B89A-F66DB7C9789B}" type="datetimeFigureOut">
              <a:rPr lang="en-US" smtClean="0"/>
              <a:t>6/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161D8D8-0EAD-40E3-B89A-F66DB7C9789B}" type="datetimeFigureOut">
              <a:rPr lang="en-US" smtClean="0"/>
              <a:t>6/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61D8D8-0EAD-40E3-B89A-F66DB7C9789B}" type="datetimeFigureOut">
              <a:rPr lang="en-US" smtClean="0"/>
              <a:t>6/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161D8D8-0EAD-40E3-B89A-F66DB7C9789B}" type="datetimeFigureOut">
              <a:rPr lang="en-US" smtClean="0"/>
              <a:t>6/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161D8D8-0EAD-40E3-B89A-F66DB7C9789B}" type="datetimeFigureOut">
              <a:rPr lang="en-US" smtClean="0"/>
              <a:t>6/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161D8D8-0EAD-40E3-B89A-F66DB7C9789B}" type="datetimeFigureOut">
              <a:rPr lang="en-US" smtClean="0"/>
              <a:t>6/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161D8D8-0EAD-40E3-B89A-F66DB7C9789B}" type="datetimeFigureOut">
              <a:rPr lang="en-US" smtClean="0"/>
              <a:t>6/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gradFill>
          <a:gsLst>
            <a:gs pos="0">
              <a:srgbClr val="005B7C"/>
            </a:gs>
            <a:gs pos="50000">
              <a:srgbClr val="0085B3"/>
            </a:gs>
            <a:gs pos="100000">
              <a:srgbClr val="00A0D6"/>
            </a:gs>
          </a:gsLst>
          <a:lin ang="18900000" scaled="1"/>
        </a:gradFill>
        <a:effectLst/>
      </p:bgPr>
    </p:bg>
    <p:spTree>
      <p:nvGrpSpPr>
        <p:cNvPr id="1" name=""/>
        <p:cNvGrpSpPr/>
        <p:nvPr/>
      </p:nvGrpSpPr>
      <p:grpSpPr>
        <a:xfrm>
          <a:off x="0" y="0"/>
          <a:ext cx="0" cy="0"/>
          <a:chOff x="0" y="0"/>
          <a:chExt cx="0" cy="0"/>
        </a:xfrm>
      </p:grpSpPr>
      <p:sp>
        <p:nvSpPr>
          <p:cNvPr id="7" name="Rectangle 7"/>
          <p:cNvSpPr/>
          <p:nvPr userDrawn="1">
            <p:custDataLst>
              <p:tags r:id="rId1"/>
            </p:custDataLst>
          </p:nvPr>
        </p:nvSpPr>
        <p:spPr bwMode="auto">
          <a:xfrm>
            <a:off x="-2047" y="4029669"/>
            <a:ext cx="9147890" cy="283341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3404" h="6952693">
                <a:moveTo>
                  <a:pt x="479" y="6946733"/>
                </a:moveTo>
                <a:lnTo>
                  <a:pt x="21703405" y="6952693"/>
                </a:lnTo>
                <a:cubicBezTo>
                  <a:pt x="21701216" y="3476346"/>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239" y="3652906"/>
                  <a:pt x="479" y="6946733"/>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00"/>
            <a:ext cx="9144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863600" y="5598319"/>
            <a:ext cx="75565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t="13502" b="6328"/>
          <a:stretch/>
        </p:blipFill>
        <p:spPr>
          <a:xfrm>
            <a:off x="0" y="-12526"/>
            <a:ext cx="9144000" cy="4772416"/>
          </a:xfrm>
          <a:prstGeom prst="rect">
            <a:avLst/>
          </a:prstGeom>
        </p:spPr>
      </p:pic>
      <p:sp>
        <p:nvSpPr>
          <p:cNvPr id="7" name="Rectangle 7"/>
          <p:cNvSpPr/>
          <p:nvPr userDrawn="1">
            <p:custDataLst>
              <p:tags r:id="rId1"/>
            </p:custDataLst>
          </p:nvPr>
        </p:nvSpPr>
        <p:spPr bwMode="auto">
          <a:xfrm>
            <a:off x="-2047" y="4029669"/>
            <a:ext cx="9147890" cy="283341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3404" h="6952693">
                <a:moveTo>
                  <a:pt x="479" y="6946733"/>
                </a:moveTo>
                <a:lnTo>
                  <a:pt x="21703405" y="6952693"/>
                </a:lnTo>
                <a:cubicBezTo>
                  <a:pt x="21701216" y="3476346"/>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239" y="3652906"/>
                  <a:pt x="479" y="6946733"/>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00"/>
            <a:ext cx="9144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863600" y="5598319"/>
            <a:ext cx="75565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4176925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2"/>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2" y="0"/>
            <a:ext cx="9143999" cy="4543720"/>
            <a:chOff x="27934" y="0"/>
            <a:chExt cx="9116066" cy="4543720"/>
          </a:xfrm>
        </p:grpSpPr>
        <p:sp>
          <p:nvSpPr>
            <p:cNvPr id="9" name="Rectangle 8"/>
            <p:cNvSpPr/>
            <p:nvPr userDrawn="1"/>
          </p:nvSpPr>
          <p:spPr>
            <a:xfrm>
              <a:off x="945823" y="4204067"/>
              <a:ext cx="741575" cy="339653"/>
            </a:xfrm>
            <a:prstGeom prst="rect">
              <a:avLst/>
            </a:prstGeom>
            <a:solidFill>
              <a:srgbClr val="4018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5" name="Group 4"/>
            <p:cNvGrpSpPr/>
            <p:nvPr userDrawn="1"/>
          </p:nvGrpSpPr>
          <p:grpSpPr>
            <a:xfrm>
              <a:off x="27934" y="0"/>
              <a:ext cx="9116066" cy="4204067"/>
              <a:chOff x="-581981" y="0"/>
              <a:chExt cx="9725981" cy="4485342"/>
            </a:xfrm>
          </p:grpSpPr>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19350" y="0"/>
                <a:ext cx="6724650" cy="4485342"/>
              </a:xfrm>
              <a:prstGeom prst="rect">
                <a:avLst/>
              </a:prstGeom>
            </p:spPr>
          </p:pic>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r="75948"/>
              <a:stretch/>
            </p:blipFill>
            <p:spPr>
              <a:xfrm flipH="1">
                <a:off x="-581981" y="0"/>
                <a:ext cx="3031473" cy="4485342"/>
              </a:xfrm>
              <a:prstGeom prst="rect">
                <a:avLst/>
              </a:prstGeom>
            </p:spPr>
          </p:pic>
        </p:grpSp>
      </p:grpSp>
      <p:sp>
        <p:nvSpPr>
          <p:cNvPr id="7" name="Rectangle 7"/>
          <p:cNvSpPr/>
          <p:nvPr userDrawn="1">
            <p:custDataLst>
              <p:tags r:id="rId1"/>
            </p:custDataLst>
          </p:nvPr>
        </p:nvSpPr>
        <p:spPr bwMode="auto">
          <a:xfrm>
            <a:off x="-2047" y="4029669"/>
            <a:ext cx="9147890" cy="283341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3404" h="6952693">
                <a:moveTo>
                  <a:pt x="479" y="6946733"/>
                </a:moveTo>
                <a:lnTo>
                  <a:pt x="21703405" y="6952693"/>
                </a:lnTo>
                <a:cubicBezTo>
                  <a:pt x="21701216" y="3476346"/>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239" y="3652906"/>
                  <a:pt x="479" y="6946733"/>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00"/>
            <a:ext cx="9144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863600" y="5598319"/>
            <a:ext cx="75565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23218587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6" cstate="print">
            <a:extLst>
              <a:ext uri="{28A0092B-C50C-407E-A947-70E740481C1C}">
                <a14:useLocalDpi xmlns:a14="http://schemas.microsoft.com/office/drawing/2010/main" val="0"/>
              </a:ext>
            </a:extLst>
          </a:blip>
          <a:srcRect b="19537"/>
          <a:stretch/>
        </p:blipFill>
        <p:spPr>
          <a:xfrm>
            <a:off x="0" y="1616364"/>
            <a:ext cx="9144000" cy="5241636"/>
          </a:xfrm>
          <a:prstGeom prst="rect">
            <a:avLst/>
          </a:prstGeom>
        </p:spPr>
      </p:pic>
      <p:sp>
        <p:nvSpPr>
          <p:cNvPr id="7" name="Rectangle 7"/>
          <p:cNvSpPr/>
          <p:nvPr userDrawn="1">
            <p:custDataLst>
              <p:tags r:id="rId2"/>
            </p:custDataLst>
          </p:nvPr>
        </p:nvSpPr>
        <p:spPr bwMode="auto">
          <a:xfrm>
            <a:off x="-572" y="16489"/>
            <a:ext cx="9167256" cy="272494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2"/>
              <a:gd name="connsiteY0" fmla="*/ 0 h 7530858"/>
              <a:gd name="connsiteX1" fmla="*/ 21725164 w 21725852"/>
              <a:gd name="connsiteY1" fmla="*/ 3227281 h 7530858"/>
              <a:gd name="connsiteX2" fmla="*/ 21725164 w 21725852"/>
              <a:gd name="connsiteY2" fmla="*/ 6371563 h 7530858"/>
              <a:gd name="connsiteX3" fmla="*/ 20930873 w 21725852"/>
              <a:gd name="connsiteY3" fmla="*/ 6756548 h 7530858"/>
              <a:gd name="connsiteX4" fmla="*/ 4250836 w 21725852"/>
              <a:gd name="connsiteY4" fmla="*/ 6732380 h 7530858"/>
              <a:gd name="connsiteX5" fmla="*/ 3107634 w 21725852"/>
              <a:gd name="connsiteY5" fmla="*/ 7530858 h 7530858"/>
              <a:gd name="connsiteX6" fmla="*/ 1933280 w 21725852"/>
              <a:gd name="connsiteY6" fmla="*/ 6732380 h 7530858"/>
              <a:gd name="connsiteX7" fmla="*/ 30992 w 21725852"/>
              <a:gd name="connsiteY7" fmla="*/ 6732380 h 7530858"/>
              <a:gd name="connsiteX8" fmla="*/ 0 w 21725852"/>
              <a:gd name="connsiteY8" fmla="*/ 0 h 7530858"/>
              <a:gd name="connsiteX0" fmla="*/ 0 w 21818142"/>
              <a:gd name="connsiteY0" fmla="*/ 0 h 7530858"/>
              <a:gd name="connsiteX1" fmla="*/ 21818140 w 21818142"/>
              <a:gd name="connsiteY1" fmla="*/ 85999 h 7530858"/>
              <a:gd name="connsiteX2" fmla="*/ 21725164 w 21818142"/>
              <a:gd name="connsiteY2" fmla="*/ 6371563 h 7530858"/>
              <a:gd name="connsiteX3" fmla="*/ 20930873 w 21818142"/>
              <a:gd name="connsiteY3" fmla="*/ 6756548 h 7530858"/>
              <a:gd name="connsiteX4" fmla="*/ 4250836 w 21818142"/>
              <a:gd name="connsiteY4" fmla="*/ 6732380 h 7530858"/>
              <a:gd name="connsiteX5" fmla="*/ 3107634 w 21818142"/>
              <a:gd name="connsiteY5" fmla="*/ 7530858 h 7530858"/>
              <a:gd name="connsiteX6" fmla="*/ 1933280 w 21818142"/>
              <a:gd name="connsiteY6" fmla="*/ 6732380 h 7530858"/>
              <a:gd name="connsiteX7" fmla="*/ 30992 w 21818142"/>
              <a:gd name="connsiteY7" fmla="*/ 6732380 h 7530858"/>
              <a:gd name="connsiteX8" fmla="*/ 0 w 21818142"/>
              <a:gd name="connsiteY8" fmla="*/ 0 h 7530858"/>
              <a:gd name="connsiteX0" fmla="*/ 419487 w 21787150"/>
              <a:gd name="connsiteY0" fmla="*/ 485240 h 7445958"/>
              <a:gd name="connsiteX1" fmla="*/ 21787148 w 21787150"/>
              <a:gd name="connsiteY1" fmla="*/ 1099 h 7445958"/>
              <a:gd name="connsiteX2" fmla="*/ 21694172 w 21787150"/>
              <a:gd name="connsiteY2" fmla="*/ 6286663 h 7445958"/>
              <a:gd name="connsiteX3" fmla="*/ 20899881 w 21787150"/>
              <a:gd name="connsiteY3" fmla="*/ 6671648 h 7445958"/>
              <a:gd name="connsiteX4" fmla="*/ 4219844 w 21787150"/>
              <a:gd name="connsiteY4" fmla="*/ 6647480 h 7445958"/>
              <a:gd name="connsiteX5" fmla="*/ 3076642 w 21787150"/>
              <a:gd name="connsiteY5" fmla="*/ 7445958 h 7445958"/>
              <a:gd name="connsiteX6" fmla="*/ 1902288 w 21787150"/>
              <a:gd name="connsiteY6" fmla="*/ 6647480 h 7445958"/>
              <a:gd name="connsiteX7" fmla="*/ 0 w 21787150"/>
              <a:gd name="connsiteY7" fmla="*/ 6647480 h 7445958"/>
              <a:gd name="connsiteX8" fmla="*/ 419487 w 21787150"/>
              <a:gd name="connsiteY8" fmla="*/ 485240 h 7445958"/>
              <a:gd name="connsiteX0" fmla="*/ 0 w 21788505"/>
              <a:gd name="connsiteY0" fmla="*/ 0 h 7463422"/>
              <a:gd name="connsiteX1" fmla="*/ 21788503 w 21788505"/>
              <a:gd name="connsiteY1" fmla="*/ 18563 h 7463422"/>
              <a:gd name="connsiteX2" fmla="*/ 21695527 w 21788505"/>
              <a:gd name="connsiteY2" fmla="*/ 6304127 h 7463422"/>
              <a:gd name="connsiteX3" fmla="*/ 20901236 w 21788505"/>
              <a:gd name="connsiteY3" fmla="*/ 6689112 h 7463422"/>
              <a:gd name="connsiteX4" fmla="*/ 4221199 w 21788505"/>
              <a:gd name="connsiteY4" fmla="*/ 6664944 h 7463422"/>
              <a:gd name="connsiteX5" fmla="*/ 3077997 w 21788505"/>
              <a:gd name="connsiteY5" fmla="*/ 7463422 h 7463422"/>
              <a:gd name="connsiteX6" fmla="*/ 1903643 w 21788505"/>
              <a:gd name="connsiteY6" fmla="*/ 6664944 h 7463422"/>
              <a:gd name="connsiteX7" fmla="*/ 1355 w 21788505"/>
              <a:gd name="connsiteY7" fmla="*/ 6664944 h 7463422"/>
              <a:gd name="connsiteX8" fmla="*/ 0 w 21788505"/>
              <a:gd name="connsiteY8" fmla="*/ 0 h 7463422"/>
              <a:gd name="connsiteX0" fmla="*/ 0 w 21788505"/>
              <a:gd name="connsiteY0" fmla="*/ 0 h 7463422"/>
              <a:gd name="connsiteX1" fmla="*/ 21788503 w 21788505"/>
              <a:gd name="connsiteY1" fmla="*/ 18563 h 7463422"/>
              <a:gd name="connsiteX2" fmla="*/ 21695527 w 21788505"/>
              <a:gd name="connsiteY2" fmla="*/ 6304127 h 7463422"/>
              <a:gd name="connsiteX3" fmla="*/ 20901236 w 21788505"/>
              <a:gd name="connsiteY3" fmla="*/ 6689112 h 7463422"/>
              <a:gd name="connsiteX4" fmla="*/ 4221199 w 21788505"/>
              <a:gd name="connsiteY4" fmla="*/ 6664944 h 7463422"/>
              <a:gd name="connsiteX5" fmla="*/ 3077997 w 21788505"/>
              <a:gd name="connsiteY5" fmla="*/ 7463422 h 7463422"/>
              <a:gd name="connsiteX6" fmla="*/ 1903643 w 21788505"/>
              <a:gd name="connsiteY6" fmla="*/ 6664944 h 7463422"/>
              <a:gd name="connsiteX7" fmla="*/ 1355 w 21788505"/>
              <a:gd name="connsiteY7" fmla="*/ 6664944 h 7463422"/>
              <a:gd name="connsiteX8" fmla="*/ 0 w 21788505"/>
              <a:gd name="connsiteY8" fmla="*/ 0 h 7463422"/>
              <a:gd name="connsiteX0" fmla="*/ 0 w 21735164"/>
              <a:gd name="connsiteY0" fmla="*/ 0 h 7463422"/>
              <a:gd name="connsiteX1" fmla="*/ 21735159 w 21735164"/>
              <a:gd name="connsiteY1" fmla="*/ 6301 h 7463422"/>
              <a:gd name="connsiteX2" fmla="*/ 21695527 w 21735164"/>
              <a:gd name="connsiteY2" fmla="*/ 6304127 h 7463422"/>
              <a:gd name="connsiteX3" fmla="*/ 20901236 w 21735164"/>
              <a:gd name="connsiteY3" fmla="*/ 6689112 h 7463422"/>
              <a:gd name="connsiteX4" fmla="*/ 4221199 w 21735164"/>
              <a:gd name="connsiteY4" fmla="*/ 6664944 h 7463422"/>
              <a:gd name="connsiteX5" fmla="*/ 3077997 w 21735164"/>
              <a:gd name="connsiteY5" fmla="*/ 7463422 h 7463422"/>
              <a:gd name="connsiteX6" fmla="*/ 1903643 w 21735164"/>
              <a:gd name="connsiteY6" fmla="*/ 6664944 h 7463422"/>
              <a:gd name="connsiteX7" fmla="*/ 1355 w 21735164"/>
              <a:gd name="connsiteY7" fmla="*/ 6664944 h 7463422"/>
              <a:gd name="connsiteX8" fmla="*/ 0 w 21735164"/>
              <a:gd name="connsiteY8" fmla="*/ 0 h 7463422"/>
              <a:gd name="connsiteX0" fmla="*/ 0 w 21695531"/>
              <a:gd name="connsiteY0" fmla="*/ 0 h 7463422"/>
              <a:gd name="connsiteX1" fmla="*/ 21421007 w 21695531"/>
              <a:gd name="connsiteY1" fmla="*/ 43084 h 7463422"/>
              <a:gd name="connsiteX2" fmla="*/ 21695527 w 21695531"/>
              <a:gd name="connsiteY2" fmla="*/ 6304127 h 7463422"/>
              <a:gd name="connsiteX3" fmla="*/ 20901236 w 21695531"/>
              <a:gd name="connsiteY3" fmla="*/ 6689112 h 7463422"/>
              <a:gd name="connsiteX4" fmla="*/ 4221199 w 21695531"/>
              <a:gd name="connsiteY4" fmla="*/ 6664944 h 7463422"/>
              <a:gd name="connsiteX5" fmla="*/ 3077997 w 21695531"/>
              <a:gd name="connsiteY5" fmla="*/ 7463422 h 7463422"/>
              <a:gd name="connsiteX6" fmla="*/ 1903643 w 21695531"/>
              <a:gd name="connsiteY6" fmla="*/ 6664944 h 7463422"/>
              <a:gd name="connsiteX7" fmla="*/ 1355 w 21695531"/>
              <a:gd name="connsiteY7" fmla="*/ 6664944 h 7463422"/>
              <a:gd name="connsiteX8" fmla="*/ 0 w 21695531"/>
              <a:gd name="connsiteY8" fmla="*/ 0 h 7463422"/>
              <a:gd name="connsiteX0" fmla="*/ 0 w 21705543"/>
              <a:gd name="connsiteY0" fmla="*/ 0 h 7463422"/>
              <a:gd name="connsiteX1" fmla="*/ 21705522 w 21705543"/>
              <a:gd name="connsiteY1" fmla="*/ 6301 h 7463422"/>
              <a:gd name="connsiteX2" fmla="*/ 21695527 w 21705543"/>
              <a:gd name="connsiteY2" fmla="*/ 6304127 h 7463422"/>
              <a:gd name="connsiteX3" fmla="*/ 20901236 w 21705543"/>
              <a:gd name="connsiteY3" fmla="*/ 6689112 h 7463422"/>
              <a:gd name="connsiteX4" fmla="*/ 4221199 w 21705543"/>
              <a:gd name="connsiteY4" fmla="*/ 6664944 h 7463422"/>
              <a:gd name="connsiteX5" fmla="*/ 3077997 w 21705543"/>
              <a:gd name="connsiteY5" fmla="*/ 7463422 h 7463422"/>
              <a:gd name="connsiteX6" fmla="*/ 1903643 w 21705543"/>
              <a:gd name="connsiteY6" fmla="*/ 6664944 h 7463422"/>
              <a:gd name="connsiteX7" fmla="*/ 1355 w 21705543"/>
              <a:gd name="connsiteY7" fmla="*/ 6664944 h 7463422"/>
              <a:gd name="connsiteX8" fmla="*/ 0 w 21705543"/>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64944 h 7463422"/>
              <a:gd name="connsiteX8" fmla="*/ 0 w 21705522"/>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58402 h 7463422"/>
              <a:gd name="connsiteX8" fmla="*/ 0 w 21705522"/>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58402 h 7463422"/>
              <a:gd name="connsiteX8" fmla="*/ 0 w 21705522"/>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58402 h 7463422"/>
              <a:gd name="connsiteX8" fmla="*/ 0 w 21705522"/>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58402 h 7463422"/>
              <a:gd name="connsiteX8" fmla="*/ 0 w 21705522"/>
              <a:gd name="connsiteY8" fmla="*/ 0 h 7463422"/>
              <a:gd name="connsiteX0" fmla="*/ 0 w 21705522"/>
              <a:gd name="connsiteY0" fmla="*/ 1852180 h 7457123"/>
              <a:gd name="connsiteX1" fmla="*/ 21705522 w 21705522"/>
              <a:gd name="connsiteY1" fmla="*/ 2 h 7457123"/>
              <a:gd name="connsiteX2" fmla="*/ 21695527 w 21705522"/>
              <a:gd name="connsiteY2" fmla="*/ 6297828 h 7457123"/>
              <a:gd name="connsiteX3" fmla="*/ 20901236 w 21705522"/>
              <a:gd name="connsiteY3" fmla="*/ 6682813 h 7457123"/>
              <a:gd name="connsiteX4" fmla="*/ 4221199 w 21705522"/>
              <a:gd name="connsiteY4" fmla="*/ 6658645 h 7457123"/>
              <a:gd name="connsiteX5" fmla="*/ 3077997 w 21705522"/>
              <a:gd name="connsiteY5" fmla="*/ 7457123 h 7457123"/>
              <a:gd name="connsiteX6" fmla="*/ 1903643 w 21705522"/>
              <a:gd name="connsiteY6" fmla="*/ 6658645 h 7457123"/>
              <a:gd name="connsiteX7" fmla="*/ 1355 w 21705522"/>
              <a:gd name="connsiteY7" fmla="*/ 6652103 h 7457123"/>
              <a:gd name="connsiteX8" fmla="*/ 0 w 21705522"/>
              <a:gd name="connsiteY8" fmla="*/ 1852180 h 7457123"/>
              <a:gd name="connsiteX0" fmla="*/ 0 w 21705522"/>
              <a:gd name="connsiteY0" fmla="*/ 786957 h 7457125"/>
              <a:gd name="connsiteX1" fmla="*/ 21705522 w 21705522"/>
              <a:gd name="connsiteY1" fmla="*/ 4 h 7457125"/>
              <a:gd name="connsiteX2" fmla="*/ 21695527 w 21705522"/>
              <a:gd name="connsiteY2" fmla="*/ 6297830 h 7457125"/>
              <a:gd name="connsiteX3" fmla="*/ 20901236 w 21705522"/>
              <a:gd name="connsiteY3" fmla="*/ 6682815 h 7457125"/>
              <a:gd name="connsiteX4" fmla="*/ 4221199 w 21705522"/>
              <a:gd name="connsiteY4" fmla="*/ 6658647 h 7457125"/>
              <a:gd name="connsiteX5" fmla="*/ 3077997 w 21705522"/>
              <a:gd name="connsiteY5" fmla="*/ 7457125 h 7457125"/>
              <a:gd name="connsiteX6" fmla="*/ 1903643 w 21705522"/>
              <a:gd name="connsiteY6" fmla="*/ 6658647 h 7457125"/>
              <a:gd name="connsiteX7" fmla="*/ 1355 w 21705522"/>
              <a:gd name="connsiteY7" fmla="*/ 6652105 h 7457125"/>
              <a:gd name="connsiteX8" fmla="*/ 0 w 21705522"/>
              <a:gd name="connsiteY8" fmla="*/ 786957 h 7457125"/>
              <a:gd name="connsiteX0" fmla="*/ 0 w 21727437"/>
              <a:gd name="connsiteY0" fmla="*/ 0 h 6670168"/>
              <a:gd name="connsiteX1" fmla="*/ 21727437 w 21727437"/>
              <a:gd name="connsiteY1" fmla="*/ 1162183 h 6670168"/>
              <a:gd name="connsiteX2" fmla="*/ 21695527 w 21727437"/>
              <a:gd name="connsiteY2" fmla="*/ 5510873 h 6670168"/>
              <a:gd name="connsiteX3" fmla="*/ 20901236 w 21727437"/>
              <a:gd name="connsiteY3" fmla="*/ 5895858 h 6670168"/>
              <a:gd name="connsiteX4" fmla="*/ 4221199 w 21727437"/>
              <a:gd name="connsiteY4" fmla="*/ 5871690 h 6670168"/>
              <a:gd name="connsiteX5" fmla="*/ 3077997 w 21727437"/>
              <a:gd name="connsiteY5" fmla="*/ 6670168 h 6670168"/>
              <a:gd name="connsiteX6" fmla="*/ 1903643 w 21727437"/>
              <a:gd name="connsiteY6" fmla="*/ 5871690 h 6670168"/>
              <a:gd name="connsiteX7" fmla="*/ 1355 w 21727437"/>
              <a:gd name="connsiteY7" fmla="*/ 5865148 h 6670168"/>
              <a:gd name="connsiteX8" fmla="*/ 0 w 21727437"/>
              <a:gd name="connsiteY8" fmla="*/ 0 h 6670168"/>
              <a:gd name="connsiteX0" fmla="*/ 0 w 21749349"/>
              <a:gd name="connsiteY0" fmla="*/ 16365 h 6686533"/>
              <a:gd name="connsiteX1" fmla="*/ 21749349 w 21749349"/>
              <a:gd name="connsiteY1" fmla="*/ 0 h 6686533"/>
              <a:gd name="connsiteX2" fmla="*/ 21695527 w 21749349"/>
              <a:gd name="connsiteY2" fmla="*/ 5527238 h 6686533"/>
              <a:gd name="connsiteX3" fmla="*/ 20901236 w 21749349"/>
              <a:gd name="connsiteY3" fmla="*/ 5912223 h 6686533"/>
              <a:gd name="connsiteX4" fmla="*/ 4221199 w 21749349"/>
              <a:gd name="connsiteY4" fmla="*/ 5888055 h 6686533"/>
              <a:gd name="connsiteX5" fmla="*/ 3077997 w 21749349"/>
              <a:gd name="connsiteY5" fmla="*/ 6686533 h 6686533"/>
              <a:gd name="connsiteX6" fmla="*/ 1903643 w 21749349"/>
              <a:gd name="connsiteY6" fmla="*/ 5888055 h 6686533"/>
              <a:gd name="connsiteX7" fmla="*/ 1355 w 21749349"/>
              <a:gd name="connsiteY7" fmla="*/ 5881513 h 6686533"/>
              <a:gd name="connsiteX8" fmla="*/ 0 w 21749349"/>
              <a:gd name="connsiteY8" fmla="*/ 16365 h 668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349" h="6686533">
                <a:moveTo>
                  <a:pt x="0" y="16365"/>
                </a:moveTo>
                <a:lnTo>
                  <a:pt x="21749349" y="0"/>
                </a:lnTo>
                <a:cubicBezTo>
                  <a:pt x="21744351" y="3148913"/>
                  <a:pt x="21703313" y="4591722"/>
                  <a:pt x="21695527" y="5527238"/>
                </a:cubicBezTo>
                <a:cubicBezTo>
                  <a:pt x="21551428" y="5952129"/>
                  <a:pt x="21160998" y="5906280"/>
                  <a:pt x="20901236" y="5912223"/>
                </a:cubicBezTo>
                <a:lnTo>
                  <a:pt x="4221199" y="5888055"/>
                </a:lnTo>
                <a:cubicBezTo>
                  <a:pt x="3643985" y="5921197"/>
                  <a:pt x="3269606" y="6223711"/>
                  <a:pt x="3077997" y="6686533"/>
                </a:cubicBezTo>
                <a:cubicBezTo>
                  <a:pt x="2779643" y="5982756"/>
                  <a:pt x="2182283" y="5887177"/>
                  <a:pt x="1903643" y="5888055"/>
                </a:cubicBezTo>
                <a:lnTo>
                  <a:pt x="1355" y="5881513"/>
                </a:lnTo>
                <a:cubicBezTo>
                  <a:pt x="677" y="2552312"/>
                  <a:pt x="677" y="3348837"/>
                  <a:pt x="0" y="16365"/>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5924" name="think-cell Slide" r:id="rId7" imgW="360" imgH="360" progId="">
                  <p:embed/>
                </p:oleObj>
              </mc:Choice>
              <mc:Fallback>
                <p:oleObj name="think-cell Slide" r:id="rId7" imgW="360" imgH="360" progId="">
                  <p:embed/>
                  <p:pic>
                    <p:nvPicPr>
                      <p:cNvPr id="0" name="Picture 27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4"/>
            </p:custDataLst>
          </p:nvPr>
        </p:nvSpPr>
        <p:spPr>
          <a:xfrm>
            <a:off x="0" y="437339"/>
            <a:ext cx="9144000" cy="1143240"/>
          </a:xfrm>
          <a:prstGeom prst="rect">
            <a:avLst/>
          </a:prstGeom>
        </p:spPr>
        <p:txBody>
          <a:bodyPr lIns="330588" tIns="33059" rIns="33059" bIns="33059" anchor="ctr" anchorCtr="0"/>
          <a:lstStyle>
            <a:lvl1pPr algn="l">
              <a:defRPr sz="3600" b="0">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8" name="Text Placeholder 7"/>
          <p:cNvSpPr>
            <a:spLocks noGrp="1"/>
          </p:cNvSpPr>
          <p:nvPr>
            <p:ph type="body" sz="quarter" idx="10"/>
          </p:nvPr>
        </p:nvSpPr>
        <p:spPr>
          <a:xfrm>
            <a:off x="336550" y="1579999"/>
            <a:ext cx="725805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dirty="0"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20040" y="1197735"/>
            <a:ext cx="41148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4709160" y="1197735"/>
            <a:ext cx="41148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0040" y="2026014"/>
            <a:ext cx="41148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6" name="Content Placeholder 5"/>
          <p:cNvSpPr>
            <a:spLocks noGrp="1"/>
          </p:cNvSpPr>
          <p:nvPr>
            <p:ph sz="quarter" idx="4"/>
          </p:nvPr>
        </p:nvSpPr>
        <p:spPr>
          <a:xfrm>
            <a:off x="4709160" y="2026014"/>
            <a:ext cx="41148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2" name="Title 1"/>
          <p:cNvSpPr>
            <a:spLocks noGrp="1"/>
          </p:cNvSpPr>
          <p:nvPr>
            <p:ph type="title"/>
          </p:nvPr>
        </p:nvSpPr>
        <p:spPr>
          <a:xfrm>
            <a:off x="0" y="25263"/>
            <a:ext cx="8823960" cy="82296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20040" y="1471315"/>
            <a:ext cx="41148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709160" y="1471315"/>
            <a:ext cx="41148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oleObject" Target="../embeddings/oleObject4.bin"/><Relationship Id="rId26" Type="http://schemas.openxmlformats.org/officeDocument/2006/relationships/image" Target="../media/image12.png"/><Relationship Id="rId3" Type="http://schemas.openxmlformats.org/officeDocument/2006/relationships/slideLayout" Target="../slideLayouts/slideLayout19.xml"/><Relationship Id="rId21" Type="http://schemas.openxmlformats.org/officeDocument/2006/relationships/hyperlink" Target="http://www.facebook.com/Capgemini" TargetMode="Externa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image" Target="../media/image5.jpeg"/><Relationship Id="rId25" Type="http://schemas.openxmlformats.org/officeDocument/2006/relationships/hyperlink" Target="http://www.twitter.com/capgemini" TargetMode="External"/><Relationship Id="rId2" Type="http://schemas.openxmlformats.org/officeDocument/2006/relationships/slideLayout" Target="../slideLayouts/slideLayout18.xml"/><Relationship Id="rId16" Type="http://schemas.openxmlformats.org/officeDocument/2006/relationships/tags" Target="../tags/tag32.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7.xml"/><Relationship Id="rId6" Type="http://schemas.openxmlformats.org/officeDocument/2006/relationships/vmlDrawing" Target="../drawings/vmlDrawing4.vml"/><Relationship Id="rId11" Type="http://schemas.openxmlformats.org/officeDocument/2006/relationships/tags" Target="../tags/tag27.xml"/><Relationship Id="rId24" Type="http://schemas.openxmlformats.org/officeDocument/2006/relationships/image" Target="../media/image11.png"/><Relationship Id="rId5" Type="http://schemas.openxmlformats.org/officeDocument/2006/relationships/theme" Target="../theme/theme2.xml"/><Relationship Id="rId15" Type="http://schemas.openxmlformats.org/officeDocument/2006/relationships/tags" Target="../tags/tag31.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26.xml"/><Relationship Id="rId19" Type="http://schemas.openxmlformats.org/officeDocument/2006/relationships/image" Target="../media/image2.emf"/><Relationship Id="rId4" Type="http://schemas.openxmlformats.org/officeDocument/2006/relationships/slideLayout" Target="../slideLayouts/slideLayout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 y="25263"/>
            <a:ext cx="882395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smtClean="0"/>
              <a:t>Click to edit Master title style</a:t>
            </a:r>
            <a:endParaRPr lang="en-US" dirty="0"/>
          </a:p>
        </p:txBody>
      </p:sp>
      <p:sp>
        <p:nvSpPr>
          <p:cNvPr id="3" name="Text Placeholder 2"/>
          <p:cNvSpPr>
            <a:spLocks noGrp="1"/>
          </p:cNvSpPr>
          <p:nvPr>
            <p:ph type="body" idx="1"/>
          </p:nvPr>
        </p:nvSpPr>
        <p:spPr>
          <a:xfrm>
            <a:off x="320040" y="1234215"/>
            <a:ext cx="850392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pic>
        <p:nvPicPr>
          <p:cNvPr id="11" name="Picture 4" descr="capgemini_rgb-[Converted]"/>
          <p:cNvPicPr>
            <a:picLocks noChangeAspect="1" noChangeArrowheads="1"/>
          </p:cNvPicPr>
          <p:nvPr/>
        </p:nvPicPr>
        <p:blipFill>
          <a:blip r:embed="rId20" cstate="print"/>
          <a:srcRect/>
          <a:stretch>
            <a:fillRect/>
          </a:stretch>
        </p:blipFill>
        <p:spPr bwMode="gray">
          <a:xfrm>
            <a:off x="273049" y="6451601"/>
            <a:ext cx="1289051" cy="301625"/>
          </a:xfrm>
          <a:prstGeom prst="rect">
            <a:avLst/>
          </a:prstGeom>
          <a:noFill/>
          <a:ln w="9525">
            <a:noFill/>
            <a:miter lim="800000"/>
            <a:headEnd/>
            <a:tailEnd/>
          </a:ln>
        </p:spPr>
      </p:pic>
      <p:sp>
        <p:nvSpPr>
          <p:cNvPr id="14" name="Line 7"/>
          <p:cNvSpPr>
            <a:spLocks noChangeShapeType="1"/>
          </p:cNvSpPr>
          <p:nvPr/>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dirty="0">
              <a:solidFill>
                <a:schemeClr val="tx2"/>
              </a:solidFill>
            </a:endParaRPr>
          </a:p>
        </p:txBody>
      </p:sp>
      <p:sp>
        <p:nvSpPr>
          <p:cNvPr id="15" name="Text Box 8"/>
          <p:cNvSpPr txBox="1">
            <a:spLocks noChangeArrowheads="1"/>
          </p:cNvSpPr>
          <p:nvPr/>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6"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smtClean="0">
                <a:solidFill>
                  <a:schemeClr val="tx2"/>
                </a:solidFill>
                <a:latin typeface="Arial Narrow" pitchFamily="34" charset="0"/>
              </a:rPr>
              <a:t>The information contained in this document is proprietary. Copyright © 2017 Capgemini. All rights reserved.</a:t>
            </a:r>
            <a:endParaRPr lang="en-US" sz="600" dirty="0">
              <a:solidFill>
                <a:schemeClr val="tx2"/>
              </a:solidFill>
              <a:latin typeface="Arial Narrow" pitchFamily="34" charset="0"/>
            </a:endParaRPr>
          </a:p>
        </p:txBody>
      </p:sp>
      <p:sp>
        <p:nvSpPr>
          <p:cNvPr id="18" name="Rectangle 17"/>
          <p:cNvSpPr/>
          <p:nvPr userDrawn="1">
            <p:custDataLst>
              <p:tags r:id="rId18"/>
            </p:custDataLst>
          </p:nvPr>
        </p:nvSpPr>
        <p:spPr>
          <a:xfrm>
            <a:off x="6682612" y="6418258"/>
            <a:ext cx="1914554" cy="195814"/>
          </a:xfrm>
          <a:prstGeom prst="rect">
            <a:avLst/>
          </a:prstGeom>
        </p:spPr>
        <p:txBody>
          <a:bodyPr wrap="none" lIns="35997" tIns="35997" rIns="35997" bIns="35997" anchor="b" anchorCtr="0">
            <a:noAutofit/>
          </a:bodyPr>
          <a:lstStyle/>
          <a:p>
            <a:pPr algn="r"/>
            <a:r>
              <a:rPr lang="en-US" sz="600" dirty="0" smtClean="0">
                <a:solidFill>
                  <a:schemeClr val="tx2"/>
                </a:solidFill>
                <a:latin typeface="Arial Narrow" pitchFamily="34" charset="0"/>
              </a:rPr>
              <a:t>Solution Overview | January 2017</a:t>
            </a:r>
            <a:endParaRPr lang="en-US" sz="600" dirty="0">
              <a:solidFill>
                <a:schemeClr val="tx2"/>
              </a:solidFill>
              <a:latin typeface="Arial Narrow" pitchFamily="34" charset="0"/>
            </a:endParaRPr>
          </a:p>
        </p:txBody>
      </p:sp>
      <p:sp>
        <p:nvSpPr>
          <p:cNvPr id="17" name="Rectangle 7"/>
          <p:cNvSpPr/>
          <p:nvPr userDrawn="1">
            <p:custDataLst>
              <p:tags r:id="rId19"/>
            </p:custDataLst>
          </p:nvPr>
        </p:nvSpPr>
        <p:spPr bwMode="auto">
          <a:xfrm>
            <a:off x="-4761" y="749616"/>
            <a:ext cx="9147175" cy="30930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1 w 21694863"/>
              <a:gd name="connsiteY0" fmla="*/ 0 h 4325468"/>
              <a:gd name="connsiteX1" fmla="*/ 21694175 w 21694863"/>
              <a:gd name="connsiteY1" fmla="*/ 21891 h 4325468"/>
              <a:gd name="connsiteX2" fmla="*/ 21694175 w 21694863"/>
              <a:gd name="connsiteY2" fmla="*/ 3166173 h 4325468"/>
              <a:gd name="connsiteX3" fmla="*/ 20899884 w 21694863"/>
              <a:gd name="connsiteY3" fmla="*/ 3551158 h 4325468"/>
              <a:gd name="connsiteX4" fmla="*/ 4219847 w 21694863"/>
              <a:gd name="connsiteY4" fmla="*/ 3526990 h 4325468"/>
              <a:gd name="connsiteX5" fmla="*/ 3076645 w 21694863"/>
              <a:gd name="connsiteY5" fmla="*/ 4325468 h 4325468"/>
              <a:gd name="connsiteX6" fmla="*/ 1902291 w 21694863"/>
              <a:gd name="connsiteY6" fmla="*/ 3526990 h 4325468"/>
              <a:gd name="connsiteX7" fmla="*/ 3 w 21694863"/>
              <a:gd name="connsiteY7" fmla="*/ 3526990 h 4325468"/>
              <a:gd name="connsiteX8" fmla="*/ 216943 w 21694863"/>
              <a:gd name="connsiteY8" fmla="*/ 224377 h 4325468"/>
              <a:gd name="connsiteX0" fmla="*/ 1 w 21694863"/>
              <a:gd name="connsiteY0" fmla="*/ 0 h 4325468"/>
              <a:gd name="connsiteX1" fmla="*/ 21694175 w 21694863"/>
              <a:gd name="connsiteY1" fmla="*/ 21891 h 4325468"/>
              <a:gd name="connsiteX2" fmla="*/ 21694175 w 21694863"/>
              <a:gd name="connsiteY2" fmla="*/ 3166173 h 4325468"/>
              <a:gd name="connsiteX3" fmla="*/ 20899884 w 21694863"/>
              <a:gd name="connsiteY3" fmla="*/ 3551158 h 4325468"/>
              <a:gd name="connsiteX4" fmla="*/ 4219847 w 21694863"/>
              <a:gd name="connsiteY4" fmla="*/ 3526990 h 4325468"/>
              <a:gd name="connsiteX5" fmla="*/ 3076645 w 21694863"/>
              <a:gd name="connsiteY5" fmla="*/ 4325468 h 4325468"/>
              <a:gd name="connsiteX6" fmla="*/ 1902291 w 21694863"/>
              <a:gd name="connsiteY6" fmla="*/ 3526990 h 4325468"/>
              <a:gd name="connsiteX7" fmla="*/ 3 w 21694863"/>
              <a:gd name="connsiteY7" fmla="*/ 3526990 h 4325468"/>
              <a:gd name="connsiteX0" fmla="*/ 21694173 w 21694861"/>
              <a:gd name="connsiteY0" fmla="*/ 0 h 4303577"/>
              <a:gd name="connsiteX1" fmla="*/ 21694173 w 21694861"/>
              <a:gd name="connsiteY1" fmla="*/ 3144282 h 4303577"/>
              <a:gd name="connsiteX2" fmla="*/ 20899882 w 21694861"/>
              <a:gd name="connsiteY2" fmla="*/ 3529267 h 4303577"/>
              <a:gd name="connsiteX3" fmla="*/ 4219845 w 21694861"/>
              <a:gd name="connsiteY3" fmla="*/ 3505099 h 4303577"/>
              <a:gd name="connsiteX4" fmla="*/ 3076643 w 21694861"/>
              <a:gd name="connsiteY4" fmla="*/ 4303577 h 4303577"/>
              <a:gd name="connsiteX5" fmla="*/ 1902289 w 21694861"/>
              <a:gd name="connsiteY5" fmla="*/ 3505099 h 4303577"/>
              <a:gd name="connsiteX6" fmla="*/ 1 w 21694861"/>
              <a:gd name="connsiteY6" fmla="*/ 3505099 h 4303577"/>
              <a:gd name="connsiteX0" fmla="*/ 21694173 w 21694173"/>
              <a:gd name="connsiteY0" fmla="*/ 0 h 1159295"/>
              <a:gd name="connsiteX1" fmla="*/ 20899882 w 21694173"/>
              <a:gd name="connsiteY1" fmla="*/ 384985 h 1159295"/>
              <a:gd name="connsiteX2" fmla="*/ 4219845 w 21694173"/>
              <a:gd name="connsiteY2" fmla="*/ 360817 h 1159295"/>
              <a:gd name="connsiteX3" fmla="*/ 3076643 w 21694173"/>
              <a:gd name="connsiteY3" fmla="*/ 1159295 h 1159295"/>
              <a:gd name="connsiteX4" fmla="*/ 1902289 w 21694173"/>
              <a:gd name="connsiteY4" fmla="*/ 360817 h 1159295"/>
              <a:gd name="connsiteX5" fmla="*/ 1 w 21694173"/>
              <a:gd name="connsiteY5" fmla="*/ 360817 h 1159295"/>
              <a:gd name="connsiteX0" fmla="*/ 21694173 w 21694173"/>
              <a:gd name="connsiteY0" fmla="*/ 0 h 1159295"/>
              <a:gd name="connsiteX1" fmla="*/ 20899882 w 21694173"/>
              <a:gd name="connsiteY1" fmla="*/ 384985 h 1159295"/>
              <a:gd name="connsiteX2" fmla="*/ 4219845 w 21694173"/>
              <a:gd name="connsiteY2" fmla="*/ 360817 h 1159295"/>
              <a:gd name="connsiteX3" fmla="*/ 3076643 w 21694173"/>
              <a:gd name="connsiteY3" fmla="*/ 1159295 h 1159295"/>
              <a:gd name="connsiteX4" fmla="*/ 1902289 w 21694173"/>
              <a:gd name="connsiteY4" fmla="*/ 360817 h 1159295"/>
              <a:gd name="connsiteX5" fmla="*/ 0 w 21694173"/>
              <a:gd name="connsiteY5" fmla="*/ 325388 h 1159295"/>
              <a:gd name="connsiteX0" fmla="*/ 20572358 w 20572358"/>
              <a:gd name="connsiteY0" fmla="*/ 0 h 1159295"/>
              <a:gd name="connsiteX1" fmla="*/ 19778067 w 20572358"/>
              <a:gd name="connsiteY1" fmla="*/ 384985 h 1159295"/>
              <a:gd name="connsiteX2" fmla="*/ 3098030 w 20572358"/>
              <a:gd name="connsiteY2" fmla="*/ 360817 h 1159295"/>
              <a:gd name="connsiteX3" fmla="*/ 1954828 w 20572358"/>
              <a:gd name="connsiteY3" fmla="*/ 1159295 h 1159295"/>
              <a:gd name="connsiteX4" fmla="*/ 780474 w 20572358"/>
              <a:gd name="connsiteY4" fmla="*/ 360817 h 1159295"/>
              <a:gd name="connsiteX5" fmla="*/ 0 w 20572358"/>
              <a:gd name="connsiteY5" fmla="*/ 343100 h 1159295"/>
              <a:gd name="connsiteX0" fmla="*/ 20341146 w 20341146"/>
              <a:gd name="connsiteY0" fmla="*/ 0 h 1159295"/>
              <a:gd name="connsiteX1" fmla="*/ 19546855 w 20341146"/>
              <a:gd name="connsiteY1" fmla="*/ 384985 h 1159295"/>
              <a:gd name="connsiteX2" fmla="*/ 2866818 w 20341146"/>
              <a:gd name="connsiteY2" fmla="*/ 360817 h 1159295"/>
              <a:gd name="connsiteX3" fmla="*/ 1723616 w 20341146"/>
              <a:gd name="connsiteY3" fmla="*/ 1159295 h 1159295"/>
              <a:gd name="connsiteX4" fmla="*/ 549262 w 20341146"/>
              <a:gd name="connsiteY4" fmla="*/ 360817 h 1159295"/>
              <a:gd name="connsiteX5" fmla="*/ 0 w 20341146"/>
              <a:gd name="connsiteY5" fmla="*/ 343100 h 1159295"/>
              <a:gd name="connsiteX0" fmla="*/ 20341146 w 20341146"/>
              <a:gd name="connsiteY0" fmla="*/ 0 h 1159295"/>
              <a:gd name="connsiteX1" fmla="*/ 19546855 w 20341146"/>
              <a:gd name="connsiteY1" fmla="*/ 384985 h 1159295"/>
              <a:gd name="connsiteX2" fmla="*/ 2866818 w 20341146"/>
              <a:gd name="connsiteY2" fmla="*/ 360817 h 1159295"/>
              <a:gd name="connsiteX3" fmla="*/ 1723616 w 20341146"/>
              <a:gd name="connsiteY3" fmla="*/ 1159295 h 1159295"/>
              <a:gd name="connsiteX4" fmla="*/ 549262 w 20341146"/>
              <a:gd name="connsiteY4" fmla="*/ 360817 h 1159295"/>
              <a:gd name="connsiteX5" fmla="*/ 0 w 20341146"/>
              <a:gd name="connsiteY5" fmla="*/ 343100 h 1159295"/>
              <a:gd name="connsiteX0" fmla="*/ 23706597 w 23706597"/>
              <a:gd name="connsiteY0" fmla="*/ 0 h 1203579"/>
              <a:gd name="connsiteX1" fmla="*/ 19546855 w 23706597"/>
              <a:gd name="connsiteY1" fmla="*/ 429269 h 1203579"/>
              <a:gd name="connsiteX2" fmla="*/ 2866818 w 23706597"/>
              <a:gd name="connsiteY2" fmla="*/ 405101 h 1203579"/>
              <a:gd name="connsiteX3" fmla="*/ 1723616 w 23706597"/>
              <a:gd name="connsiteY3" fmla="*/ 1203579 h 1203579"/>
              <a:gd name="connsiteX4" fmla="*/ 549262 w 23706597"/>
              <a:gd name="connsiteY4" fmla="*/ 405101 h 1203579"/>
              <a:gd name="connsiteX5" fmla="*/ 0 w 23706597"/>
              <a:gd name="connsiteY5" fmla="*/ 387384 h 1203579"/>
              <a:gd name="connsiteX0" fmla="*/ 28887508 w 28887508"/>
              <a:gd name="connsiteY0" fmla="*/ 0 h 1159295"/>
              <a:gd name="connsiteX1" fmla="*/ 19546855 w 28887508"/>
              <a:gd name="connsiteY1" fmla="*/ 384985 h 1159295"/>
              <a:gd name="connsiteX2" fmla="*/ 2866818 w 28887508"/>
              <a:gd name="connsiteY2" fmla="*/ 360817 h 1159295"/>
              <a:gd name="connsiteX3" fmla="*/ 1723616 w 28887508"/>
              <a:gd name="connsiteY3" fmla="*/ 1159295 h 1159295"/>
              <a:gd name="connsiteX4" fmla="*/ 549262 w 28887508"/>
              <a:gd name="connsiteY4" fmla="*/ 360817 h 1159295"/>
              <a:gd name="connsiteX5" fmla="*/ 0 w 28887508"/>
              <a:gd name="connsiteY5" fmla="*/ 343100 h 1159295"/>
              <a:gd name="connsiteX0" fmla="*/ 32895222 w 32895222"/>
              <a:gd name="connsiteY0" fmla="*/ 0 h 1150439"/>
              <a:gd name="connsiteX1" fmla="*/ 19546855 w 32895222"/>
              <a:gd name="connsiteY1" fmla="*/ 376129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21858998 w 32895222"/>
              <a:gd name="connsiteY1" fmla="*/ 384985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26645990 w 32895222"/>
              <a:gd name="connsiteY1" fmla="*/ 340701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31818339 w 32895222"/>
              <a:gd name="connsiteY1" fmla="*/ 358417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32023862 w 32895222"/>
              <a:gd name="connsiteY1" fmla="*/ 393845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32023862 w 32895222"/>
              <a:gd name="connsiteY1" fmla="*/ 358417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95222" h="1150439">
                <a:moveTo>
                  <a:pt x="32895222" y="0"/>
                </a:moveTo>
                <a:cubicBezTo>
                  <a:pt x="32751123" y="424891"/>
                  <a:pt x="32283624" y="352474"/>
                  <a:pt x="32023862" y="358417"/>
                </a:cubicBezTo>
                <a:lnTo>
                  <a:pt x="2866818" y="351961"/>
                </a:lnTo>
                <a:cubicBezTo>
                  <a:pt x="2289604" y="385103"/>
                  <a:pt x="1915225" y="687617"/>
                  <a:pt x="1723616" y="1150439"/>
                </a:cubicBezTo>
                <a:cubicBezTo>
                  <a:pt x="1425262" y="446662"/>
                  <a:pt x="827902" y="351083"/>
                  <a:pt x="549262" y="351961"/>
                </a:cubicBezTo>
                <a:lnTo>
                  <a:pt x="0" y="334244"/>
                </a:lnTo>
              </a:path>
            </a:pathLst>
          </a:custGeom>
          <a:solidFill>
            <a:schemeClr val="bg1"/>
          </a:solidFill>
          <a:ln w="28575" cmpd="sng" algn="ctr">
            <a:solidFill>
              <a:schemeClr val="bg2"/>
            </a:solid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Tree>
  </p:cSld>
  <p:clrMap bg1="lt1" tx1="dk1" bg2="lt2" tx2="dk2" accent1="accent1" accent2="accent2" accent3="accent3" accent4="accent4" accent5="accent5" accent6="accent6" hlink="hlink" folHlink="folHlink"/>
  <p:sldLayoutIdLst>
    <p:sldLayoutId id="2147483662" r:id="rId1"/>
    <p:sldLayoutId id="2147483660" r:id="rId2"/>
    <p:sldLayoutId id="2147483650" r:id="rId3"/>
    <p:sldLayoutId id="2147483651" r:id="rId4"/>
    <p:sldLayoutId id="2147483670" r:id="rId5"/>
    <p:sldLayoutId id="2147483669" r:id="rId6"/>
    <p:sldLayoutId id="2147483668"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 id="2147483671" r:id="rId16"/>
  </p:sldLayoutIdLst>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7"/>
          <p:cNvSpPr/>
          <p:nvPr userDrawn="1">
            <p:custDataLst>
              <p:tags r:id="rId7"/>
            </p:custDataLst>
          </p:nvPr>
        </p:nvSpPr>
        <p:spPr bwMode="auto">
          <a:xfrm>
            <a:off x="-3890" y="2163291"/>
            <a:ext cx="9147240" cy="46986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 name="connsiteX0" fmla="*/ 479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479 w 21703404"/>
              <a:gd name="connsiteY8" fmla="*/ 11587960 h 11587960"/>
              <a:gd name="connsiteX0" fmla="*/ 802867 w 21703404"/>
              <a:gd name="connsiteY0" fmla="*/ 10604388 h 10604388"/>
              <a:gd name="connsiteX1" fmla="*/ 21703405 w 21703404"/>
              <a:gd name="connsiteY1" fmla="*/ 6952693 h 10604388"/>
              <a:gd name="connsiteX2" fmla="*/ 21699027 w 21703404"/>
              <a:gd name="connsiteY2" fmla="*/ -1 h 10604388"/>
              <a:gd name="connsiteX3" fmla="*/ 20904736 w 21703404"/>
              <a:gd name="connsiteY3" fmla="*/ 384984 h 10604388"/>
              <a:gd name="connsiteX4" fmla="*/ 4224699 w 21703404"/>
              <a:gd name="connsiteY4" fmla="*/ 360816 h 10604388"/>
              <a:gd name="connsiteX5" fmla="*/ 3081497 w 21703404"/>
              <a:gd name="connsiteY5" fmla="*/ 1159294 h 10604388"/>
              <a:gd name="connsiteX6" fmla="*/ 1907143 w 21703404"/>
              <a:gd name="connsiteY6" fmla="*/ 360816 h 10604388"/>
              <a:gd name="connsiteX7" fmla="*/ 0 w 21703404"/>
              <a:gd name="connsiteY7" fmla="*/ 359079 h 10604388"/>
              <a:gd name="connsiteX8" fmla="*/ 802867 w 21703404"/>
              <a:gd name="connsiteY8" fmla="*/ 10604388 h 10604388"/>
              <a:gd name="connsiteX0" fmla="*/ 30197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30197 w 21703404"/>
              <a:gd name="connsiteY8" fmla="*/ 11587960 h 11587960"/>
              <a:gd name="connsiteX0" fmla="*/ 13248 w 21703404"/>
              <a:gd name="connsiteY0" fmla="*/ 11547057 h 11547057"/>
              <a:gd name="connsiteX1" fmla="*/ 21703405 w 21703404"/>
              <a:gd name="connsiteY1" fmla="*/ 6952693 h 11547057"/>
              <a:gd name="connsiteX2" fmla="*/ 21699027 w 21703404"/>
              <a:gd name="connsiteY2" fmla="*/ -1 h 11547057"/>
              <a:gd name="connsiteX3" fmla="*/ 20904736 w 21703404"/>
              <a:gd name="connsiteY3" fmla="*/ 384984 h 11547057"/>
              <a:gd name="connsiteX4" fmla="*/ 4224699 w 21703404"/>
              <a:gd name="connsiteY4" fmla="*/ 360816 h 11547057"/>
              <a:gd name="connsiteX5" fmla="*/ 3081497 w 21703404"/>
              <a:gd name="connsiteY5" fmla="*/ 1159294 h 11547057"/>
              <a:gd name="connsiteX6" fmla="*/ 1907143 w 21703404"/>
              <a:gd name="connsiteY6" fmla="*/ 360816 h 11547057"/>
              <a:gd name="connsiteX7" fmla="*/ 0 w 21703404"/>
              <a:gd name="connsiteY7" fmla="*/ 359079 h 11547057"/>
              <a:gd name="connsiteX8" fmla="*/ 13248 w 21703404"/>
              <a:gd name="connsiteY8" fmla="*/ 11547057 h 11547057"/>
              <a:gd name="connsiteX0" fmla="*/ 18899 w 21703404"/>
              <a:gd name="connsiteY0" fmla="*/ 11500312 h 11500312"/>
              <a:gd name="connsiteX1" fmla="*/ 21703405 w 21703404"/>
              <a:gd name="connsiteY1" fmla="*/ 6952693 h 11500312"/>
              <a:gd name="connsiteX2" fmla="*/ 21699027 w 21703404"/>
              <a:gd name="connsiteY2" fmla="*/ -1 h 11500312"/>
              <a:gd name="connsiteX3" fmla="*/ 20904736 w 21703404"/>
              <a:gd name="connsiteY3" fmla="*/ 384984 h 11500312"/>
              <a:gd name="connsiteX4" fmla="*/ 4224699 w 21703404"/>
              <a:gd name="connsiteY4" fmla="*/ 360816 h 11500312"/>
              <a:gd name="connsiteX5" fmla="*/ 3081497 w 21703404"/>
              <a:gd name="connsiteY5" fmla="*/ 1159294 h 11500312"/>
              <a:gd name="connsiteX6" fmla="*/ 1907143 w 21703404"/>
              <a:gd name="connsiteY6" fmla="*/ 360816 h 11500312"/>
              <a:gd name="connsiteX7" fmla="*/ 0 w 21703404"/>
              <a:gd name="connsiteY7" fmla="*/ 359079 h 11500312"/>
              <a:gd name="connsiteX8" fmla="*/ 18899 w 21703404"/>
              <a:gd name="connsiteY8" fmla="*/ 11500312 h 11500312"/>
              <a:gd name="connsiteX0" fmla="*/ 453915 w 21703404"/>
              <a:gd name="connsiteY0" fmla="*/ 10910154 h 10910154"/>
              <a:gd name="connsiteX1" fmla="*/ 21703405 w 21703404"/>
              <a:gd name="connsiteY1" fmla="*/ 6952693 h 10910154"/>
              <a:gd name="connsiteX2" fmla="*/ 21699027 w 21703404"/>
              <a:gd name="connsiteY2" fmla="*/ -1 h 10910154"/>
              <a:gd name="connsiteX3" fmla="*/ 20904736 w 21703404"/>
              <a:gd name="connsiteY3" fmla="*/ 384984 h 10910154"/>
              <a:gd name="connsiteX4" fmla="*/ 4224699 w 21703404"/>
              <a:gd name="connsiteY4" fmla="*/ 360816 h 10910154"/>
              <a:gd name="connsiteX5" fmla="*/ 3081497 w 21703404"/>
              <a:gd name="connsiteY5" fmla="*/ 1159294 h 10910154"/>
              <a:gd name="connsiteX6" fmla="*/ 1907143 w 21703404"/>
              <a:gd name="connsiteY6" fmla="*/ 360816 h 10910154"/>
              <a:gd name="connsiteX7" fmla="*/ 0 w 21703404"/>
              <a:gd name="connsiteY7" fmla="*/ 359079 h 10910154"/>
              <a:gd name="connsiteX8" fmla="*/ 453915 w 21703404"/>
              <a:gd name="connsiteY8" fmla="*/ 10910154 h 10910154"/>
              <a:gd name="connsiteX0" fmla="*/ 7602 w 21703404"/>
              <a:gd name="connsiteY0" fmla="*/ 11529527 h 11529527"/>
              <a:gd name="connsiteX1" fmla="*/ 21703405 w 21703404"/>
              <a:gd name="connsiteY1" fmla="*/ 6952693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857124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1142270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1862"/>
              <a:gd name="connsiteY0" fmla="*/ 11529527 h 11529527"/>
              <a:gd name="connsiteX1" fmla="*/ 21697755 w 21701862"/>
              <a:gd name="connsiteY1" fmla="*/ 11522040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 name="connsiteX0" fmla="*/ 7602 w 21701862"/>
              <a:gd name="connsiteY0" fmla="*/ 11529527 h 11529527"/>
              <a:gd name="connsiteX1" fmla="*/ 21697755 w 21701862"/>
              <a:gd name="connsiteY1" fmla="*/ 11516198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1862" h="11529527">
                <a:moveTo>
                  <a:pt x="7602" y="11529527"/>
                </a:moveTo>
                <a:lnTo>
                  <a:pt x="21697755" y="11516198"/>
                </a:lnTo>
                <a:cubicBezTo>
                  <a:pt x="21695566" y="8039851"/>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7362" y="8235700"/>
                  <a:pt x="7602" y="11529527"/>
                </a:cubicBezTo>
                <a:close/>
              </a:path>
            </a:pathLst>
          </a:custGeom>
          <a:gradFill>
            <a:gsLst>
              <a:gs pos="0">
                <a:srgbClr val="005B7C"/>
              </a:gs>
              <a:gs pos="50000">
                <a:srgbClr val="0085B3"/>
              </a:gs>
              <a:gs pos="100000">
                <a:srgbClr val="00A0D6"/>
              </a:gs>
            </a:gsLst>
            <a:lin ang="189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1" name="Picture 20" descr="capgemini_rgb.jpg"/>
          <p:cNvPicPr>
            <a:picLocks noChangeAspect="1"/>
          </p:cNvPicPr>
          <p:nvPr/>
        </p:nvPicPr>
        <p:blipFill>
          <a:blip r:embed="rId17" cstate="print"/>
          <a:stretch>
            <a:fillRect/>
          </a:stretch>
        </p:blipFill>
        <p:spPr>
          <a:xfrm>
            <a:off x="592410" y="844897"/>
            <a:ext cx="3027090" cy="925380"/>
          </a:xfrm>
          <a:prstGeom prst="rect">
            <a:avLst/>
          </a:prstGeom>
        </p:spPr>
      </p:pic>
      <p:graphicFrame>
        <p:nvGraphicFramePr>
          <p:cNvPr id="12" name="Object 11" hidden="1"/>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705" name="think-cell Slide" r:id="rId18" imgW="360" imgH="360" progId="">
                  <p:embed/>
                </p:oleObj>
              </mc:Choice>
              <mc:Fallback>
                <p:oleObj name="think-cell Slide" r:id="rId18" imgW="360" imgH="360" progId="">
                  <p:embed/>
                  <p:pic>
                    <p:nvPicPr>
                      <p:cNvPr id="0" name="Picture 270"/>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069198" y="1173628"/>
            <a:ext cx="3364886" cy="290298"/>
          </a:xfrm>
          <a:prstGeom prst="rect">
            <a:avLst/>
          </a:prstGeom>
          <a:noFill/>
        </p:spPr>
      </p:pic>
      <p:sp>
        <p:nvSpPr>
          <p:cNvPr id="13" name="Rectangle 12"/>
          <p:cNvSpPr/>
          <p:nvPr>
            <p:custDataLst>
              <p:tags r:id="rId10"/>
            </p:custDataLst>
          </p:nvPr>
        </p:nvSpPr>
        <p:spPr>
          <a:xfrm>
            <a:off x="5099002" y="6379671"/>
            <a:ext cx="4045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7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328542" y="5932547"/>
            <a:ext cx="256821"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8531283" y="5932547"/>
            <a:ext cx="25967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8" y="5932550"/>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72" r:id="rId3"/>
    <p:sldLayoutId id="2147483667" r:id="rId4"/>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161D8D8-0EAD-40E3-B89A-F66DB7C9789B}" type="datetimeFigureOut">
              <a:rPr lang="en-US" smtClean="0"/>
              <a:t>6/8/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E5ABC4-C781-4171-85AC-8CE9BBF28B7B}"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2" Type="http://schemas.openxmlformats.org/officeDocument/2006/relationships/tags" Target="../tags/tag42.xml"/><Relationship Id="rId16" Type="http://schemas.openxmlformats.org/officeDocument/2006/relationships/notesSlide" Target="../notesSlides/notesSlide1.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slideLayout" Target="../slideLayouts/slideLayout10.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custDataLst>
              <p:tags r:id="rId1"/>
            </p:custDataLst>
          </p:nvPr>
        </p:nvSpPr>
        <p:spPr bwMode="auto">
          <a:xfrm>
            <a:off x="304799" y="1875667"/>
            <a:ext cx="1707953" cy="229580"/>
          </a:xfrm>
          <a:prstGeom prst="rect">
            <a:avLst/>
          </a:prstGeom>
          <a:solidFill>
            <a:srgbClr val="009ACC"/>
          </a:solidFill>
          <a:ln w="9525" cap="flat" cmpd="sng" algn="ctr">
            <a:solidFill>
              <a:schemeClr val="bg1">
                <a:lumMod val="65000"/>
              </a:schemeClr>
            </a:solidFill>
            <a:prstDash val="solid"/>
            <a:miter lim="800000"/>
            <a:headEnd type="none" w="med" len="med"/>
            <a:tailEnd type="none" w="med" len="med"/>
          </a:ln>
          <a:effectLst/>
        </p:spPr>
        <p:txBody>
          <a:bodyPr wrap="square" lIns="90000" tIns="46800" rIns="90000" bIns="46800" anchor="ctr"/>
          <a:lstStyle/>
          <a:p>
            <a:pPr eaLnBrk="0" hangingPunct="0">
              <a:spcBef>
                <a:spcPct val="40000"/>
              </a:spcBef>
              <a:tabLst>
                <a:tab pos="6464300" algn="r"/>
              </a:tabLst>
            </a:pPr>
            <a:r>
              <a:rPr lang="en-US" sz="1050" b="1" dirty="0" smtClean="0">
                <a:solidFill>
                  <a:srgbClr val="FFFFFF"/>
                </a:solidFill>
                <a:latin typeface="Arial" pitchFamily="34" charset="0"/>
                <a:cs typeface="Arial" pitchFamily="34" charset="0"/>
              </a:rPr>
              <a:t>Practice</a:t>
            </a:r>
            <a:endParaRPr lang="en-US" sz="1050" b="1" dirty="0">
              <a:solidFill>
                <a:srgbClr val="FFFFFF"/>
              </a:solidFill>
              <a:latin typeface="Arial" pitchFamily="34" charset="0"/>
              <a:cs typeface="Arial" pitchFamily="34" charset="0"/>
            </a:endParaRPr>
          </a:p>
        </p:txBody>
      </p:sp>
      <p:sp>
        <p:nvSpPr>
          <p:cNvPr id="4" name="Rectangle 9"/>
          <p:cNvSpPr>
            <a:spLocks noChangeArrowheads="1"/>
          </p:cNvSpPr>
          <p:nvPr>
            <p:custDataLst>
              <p:tags r:id="rId2"/>
            </p:custDataLst>
          </p:nvPr>
        </p:nvSpPr>
        <p:spPr bwMode="auto">
          <a:xfrm>
            <a:off x="304800" y="1640133"/>
            <a:ext cx="1707954" cy="241200"/>
          </a:xfrm>
          <a:prstGeom prst="rect">
            <a:avLst/>
          </a:prstGeom>
          <a:solidFill>
            <a:srgbClr val="009ACC"/>
          </a:solidFill>
          <a:ln w="9525" cap="flat" cmpd="sng" algn="ctr">
            <a:solidFill>
              <a:schemeClr val="bg1">
                <a:lumMod val="65000"/>
              </a:schemeClr>
            </a:solidFill>
            <a:prstDash val="solid"/>
            <a:miter lim="800000"/>
            <a:headEnd type="none" w="med" len="med"/>
            <a:tailEnd type="none" w="med" len="med"/>
          </a:ln>
          <a:effectLst/>
        </p:spPr>
        <p:txBody>
          <a:bodyPr wrap="square" lIns="90000" tIns="46800" rIns="90000" bIns="46800" anchor="ctr"/>
          <a:lstStyle/>
          <a:p>
            <a:pPr eaLnBrk="0" hangingPunct="0">
              <a:spcBef>
                <a:spcPct val="40000"/>
              </a:spcBef>
              <a:tabLst>
                <a:tab pos="6464300" algn="r"/>
              </a:tabLst>
            </a:pPr>
            <a:r>
              <a:rPr lang="en-US" sz="1050" b="1" dirty="0" smtClean="0">
                <a:solidFill>
                  <a:srgbClr val="FFFFFF"/>
                </a:solidFill>
                <a:latin typeface="Arial" pitchFamily="34" charset="0"/>
                <a:cs typeface="Arial" pitchFamily="34" charset="0"/>
              </a:rPr>
              <a:t>Office</a:t>
            </a:r>
          </a:p>
        </p:txBody>
      </p:sp>
      <p:sp>
        <p:nvSpPr>
          <p:cNvPr id="5" name="Rectangle 10"/>
          <p:cNvSpPr>
            <a:spLocks noChangeArrowheads="1"/>
          </p:cNvSpPr>
          <p:nvPr>
            <p:custDataLst>
              <p:tags r:id="rId3"/>
            </p:custDataLst>
          </p:nvPr>
        </p:nvSpPr>
        <p:spPr bwMode="auto">
          <a:xfrm>
            <a:off x="304800" y="1371600"/>
            <a:ext cx="1707954" cy="281374"/>
          </a:xfrm>
          <a:prstGeom prst="rect">
            <a:avLst/>
          </a:prstGeom>
          <a:solidFill>
            <a:srgbClr val="009ACC"/>
          </a:solidFill>
          <a:ln w="9525" cap="flat" cmpd="sng" algn="ctr">
            <a:solidFill>
              <a:schemeClr val="bg1">
                <a:lumMod val="65000"/>
              </a:schemeClr>
            </a:solidFill>
            <a:prstDash val="solid"/>
            <a:miter lim="800000"/>
            <a:headEnd type="none" w="med" len="med"/>
            <a:tailEnd type="none" w="med" len="med"/>
          </a:ln>
          <a:effectLst/>
        </p:spPr>
        <p:txBody>
          <a:bodyPr wrap="square" lIns="90000" tIns="46800" rIns="90000" bIns="46800" anchor="ctr"/>
          <a:lstStyle/>
          <a:p>
            <a:pPr eaLnBrk="0" hangingPunct="0">
              <a:spcBef>
                <a:spcPct val="40000"/>
              </a:spcBef>
              <a:tabLst>
                <a:tab pos="6464300" algn="r"/>
              </a:tabLst>
            </a:pPr>
            <a:r>
              <a:rPr lang="en-US" sz="1050" b="1" dirty="0" smtClean="0">
                <a:solidFill>
                  <a:srgbClr val="FFFFFF"/>
                </a:solidFill>
                <a:latin typeface="Arial" pitchFamily="34" charset="0"/>
                <a:cs typeface="Arial" pitchFamily="34" charset="0"/>
              </a:rPr>
              <a:t>Role</a:t>
            </a:r>
          </a:p>
        </p:txBody>
      </p:sp>
      <p:sp>
        <p:nvSpPr>
          <p:cNvPr id="6" name="Rectangle 11"/>
          <p:cNvSpPr>
            <a:spLocks noChangeArrowheads="1"/>
          </p:cNvSpPr>
          <p:nvPr>
            <p:custDataLst>
              <p:tags r:id="rId4"/>
            </p:custDataLst>
          </p:nvPr>
        </p:nvSpPr>
        <p:spPr bwMode="auto">
          <a:xfrm>
            <a:off x="304799" y="1106734"/>
            <a:ext cx="1707953" cy="262466"/>
          </a:xfrm>
          <a:prstGeom prst="rect">
            <a:avLst/>
          </a:prstGeom>
          <a:solidFill>
            <a:srgbClr val="009ACC"/>
          </a:solidFill>
          <a:ln w="9525" cap="flat" cmpd="sng" algn="ctr">
            <a:solidFill>
              <a:schemeClr val="bg1">
                <a:lumMod val="65000"/>
              </a:schemeClr>
            </a:solidFill>
            <a:prstDash val="solid"/>
            <a:miter lim="800000"/>
            <a:headEnd type="none" w="med" len="med"/>
            <a:tailEnd type="none" w="med" len="med"/>
          </a:ln>
          <a:effectLst/>
        </p:spPr>
        <p:txBody>
          <a:bodyPr wrap="square" lIns="90000" tIns="46800" rIns="90000" bIns="46800" anchor="ctr"/>
          <a:lstStyle/>
          <a:p>
            <a:pPr eaLnBrk="0" hangingPunct="0">
              <a:spcBef>
                <a:spcPct val="40000"/>
              </a:spcBef>
              <a:tabLst>
                <a:tab pos="6464300" algn="r"/>
              </a:tabLst>
            </a:pPr>
            <a:r>
              <a:rPr lang="en-US" sz="1050" b="1" dirty="0" smtClean="0">
                <a:solidFill>
                  <a:srgbClr val="FFFFFF"/>
                </a:solidFill>
                <a:latin typeface="Arial" pitchFamily="34" charset="0"/>
                <a:cs typeface="Arial" pitchFamily="34" charset="0"/>
              </a:rPr>
              <a:t>Name</a:t>
            </a:r>
          </a:p>
        </p:txBody>
      </p:sp>
      <p:sp>
        <p:nvSpPr>
          <p:cNvPr id="7" name="Rectangle 14"/>
          <p:cNvSpPr>
            <a:spLocks noChangeArrowheads="1"/>
          </p:cNvSpPr>
          <p:nvPr>
            <p:custDataLst>
              <p:tags r:id="rId5"/>
            </p:custDataLst>
          </p:nvPr>
        </p:nvSpPr>
        <p:spPr bwMode="auto">
          <a:xfrm>
            <a:off x="233128" y="2211187"/>
            <a:ext cx="3924000" cy="314481"/>
          </a:xfrm>
          <a:prstGeom prst="round2SameRect">
            <a:avLst/>
          </a:prstGeom>
          <a:solidFill>
            <a:srgbClr val="009ACC"/>
          </a:solidFill>
          <a:ln w="28575" cap="flat" cmpd="sng" algn="ctr">
            <a:solidFill>
              <a:srgbClr val="009ACC"/>
            </a:solidFill>
            <a:prstDash val="solid"/>
            <a:headEnd type="none" w="med" len="med"/>
            <a:tailEnd type="none" w="med" len="med"/>
          </a:ln>
          <a:effectLst>
            <a:outerShdw blurRad="40000" dist="23000" dir="5400000" rotWithShape="0">
              <a:srgbClr val="000000">
                <a:alpha val="35000"/>
              </a:srgbClr>
            </a:outerShdw>
          </a:effectLst>
        </p:spPr>
        <p:txBody>
          <a:bodyPr lIns="45720" rIns="45720" anchor="ctr" anchorCtr="0"/>
          <a:lstStyle/>
          <a:p>
            <a:pPr indent="-195263" algn="ctr" fontAlgn="auto">
              <a:spcBef>
                <a:spcPct val="80000"/>
              </a:spcBef>
              <a:spcAft>
                <a:spcPct val="50000"/>
              </a:spcAft>
              <a:buClr>
                <a:srgbClr val="00539B"/>
              </a:buClr>
              <a:defRPr/>
            </a:pPr>
            <a:r>
              <a:rPr lang="en-US" sz="1050" b="1" kern="0" dirty="0" smtClean="0">
                <a:solidFill>
                  <a:sysClr val="window" lastClr="FFFFFF"/>
                </a:solidFill>
                <a:latin typeface="Arial"/>
                <a:ea typeface="+mn-ea"/>
              </a:rPr>
              <a:t>Core Competencies</a:t>
            </a:r>
            <a:endParaRPr lang="en-US" sz="1050" b="1" kern="0" dirty="0">
              <a:solidFill>
                <a:sysClr val="window" lastClr="FFFFFF"/>
              </a:solidFill>
              <a:latin typeface="Arial"/>
              <a:ea typeface="+mn-ea"/>
            </a:endParaRPr>
          </a:p>
        </p:txBody>
      </p:sp>
      <p:sp>
        <p:nvSpPr>
          <p:cNvPr id="8" name="Rectangle 15"/>
          <p:cNvSpPr>
            <a:spLocks noChangeArrowheads="1"/>
          </p:cNvSpPr>
          <p:nvPr>
            <p:custDataLst>
              <p:tags r:id="rId6"/>
            </p:custDataLst>
          </p:nvPr>
        </p:nvSpPr>
        <p:spPr bwMode="auto">
          <a:xfrm>
            <a:off x="233127" y="2529964"/>
            <a:ext cx="3924006" cy="1826376"/>
          </a:xfrm>
          <a:prstGeom prst="rect">
            <a:avLst/>
          </a:prstGeom>
          <a:solidFill>
            <a:schemeClr val="bg1"/>
          </a:solidFill>
          <a:ln w="9525"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90000" tIns="54000" rIns="90000" bIns="46800"/>
          <a:lstStyle/>
          <a:p>
            <a:pPr marL="115888" lvl="0" indent="-115888" eaLnBrk="0" hangingPunct="0">
              <a:spcBef>
                <a:spcPts val="200"/>
              </a:spcBef>
              <a:spcAft>
                <a:spcPts val="200"/>
              </a:spcAft>
              <a:buClr>
                <a:schemeClr val="accent2"/>
              </a:buClr>
              <a:buFont typeface="Wingdings" pitchFamily="2" charset="2"/>
              <a:buChar char="§"/>
            </a:pPr>
            <a:r>
              <a:rPr lang="en-US" sz="1050" dirty="0" smtClean="0">
                <a:solidFill>
                  <a:schemeClr val="tx1">
                    <a:lumMod val="85000"/>
                    <a:lumOff val="15000"/>
                  </a:schemeClr>
                </a:solidFill>
                <a:cs typeface="Calibri"/>
              </a:rPr>
              <a:t>Cloud Technologies -  AWS, Spring Cloud</a:t>
            </a:r>
          </a:p>
          <a:p>
            <a:pPr marL="115888" lvl="0" indent="-115888" eaLnBrk="0" hangingPunct="0">
              <a:spcBef>
                <a:spcPts val="200"/>
              </a:spcBef>
              <a:spcAft>
                <a:spcPts val="200"/>
              </a:spcAft>
              <a:buClr>
                <a:schemeClr val="accent2"/>
              </a:buClr>
              <a:buFont typeface="Wingdings" pitchFamily="2" charset="2"/>
              <a:buChar char="§"/>
            </a:pPr>
            <a:r>
              <a:rPr lang="en-US" sz="1050" dirty="0" smtClean="0">
                <a:solidFill>
                  <a:schemeClr val="tx1">
                    <a:lumMod val="85000"/>
                    <a:lumOff val="15000"/>
                  </a:schemeClr>
                </a:solidFill>
                <a:cs typeface="Calibri"/>
              </a:rPr>
              <a:t>Java/J2EE, Core </a:t>
            </a:r>
            <a:r>
              <a:rPr lang="en-US" sz="1050" dirty="0">
                <a:solidFill>
                  <a:schemeClr val="tx1">
                    <a:lumMod val="85000"/>
                    <a:lumOff val="15000"/>
                  </a:schemeClr>
                </a:solidFill>
                <a:cs typeface="Calibri"/>
              </a:rPr>
              <a:t>Java, </a:t>
            </a:r>
            <a:r>
              <a:rPr lang="en-US" sz="1050" dirty="0" smtClean="0">
                <a:solidFill>
                  <a:schemeClr val="tx1">
                    <a:lumMod val="85000"/>
                    <a:lumOff val="15000"/>
                  </a:schemeClr>
                </a:solidFill>
                <a:cs typeface="Calibri"/>
              </a:rPr>
              <a:t>Spring, Spring Boot </a:t>
            </a:r>
          </a:p>
          <a:p>
            <a:pPr marL="115888" lvl="0" indent="-115888" eaLnBrk="0" hangingPunct="0">
              <a:spcBef>
                <a:spcPts val="200"/>
              </a:spcBef>
              <a:spcAft>
                <a:spcPts val="200"/>
              </a:spcAft>
              <a:buClr>
                <a:schemeClr val="accent2"/>
              </a:buClr>
              <a:buFont typeface="Wingdings" pitchFamily="2" charset="2"/>
              <a:buChar char="§"/>
            </a:pPr>
            <a:r>
              <a:rPr lang="en-US" sz="1050" dirty="0" smtClean="0">
                <a:solidFill>
                  <a:schemeClr val="tx1">
                    <a:lumMod val="85000"/>
                    <a:lumOff val="15000"/>
                  </a:schemeClr>
                </a:solidFill>
                <a:cs typeface="Calibri"/>
              </a:rPr>
              <a:t>Other Programming Languages – C, C++, C#</a:t>
            </a:r>
            <a:endParaRPr lang="en-US" sz="1050" dirty="0">
              <a:solidFill>
                <a:schemeClr val="tx1">
                  <a:lumMod val="85000"/>
                  <a:lumOff val="15000"/>
                </a:schemeClr>
              </a:solidFill>
              <a:cs typeface="Calibri"/>
            </a:endParaRPr>
          </a:p>
          <a:p>
            <a:pPr marL="115888" lvl="0" indent="-115888" eaLnBrk="0" hangingPunct="0">
              <a:spcBef>
                <a:spcPts val="200"/>
              </a:spcBef>
              <a:spcAft>
                <a:spcPts val="200"/>
              </a:spcAft>
              <a:buClr>
                <a:schemeClr val="accent2"/>
              </a:buClr>
              <a:buFont typeface="Wingdings" pitchFamily="2" charset="2"/>
              <a:buChar char="§"/>
            </a:pPr>
            <a:r>
              <a:rPr lang="en-US" sz="1050" dirty="0" smtClean="0">
                <a:solidFill>
                  <a:schemeClr val="tx1">
                    <a:lumMod val="85000"/>
                    <a:lumOff val="15000"/>
                  </a:schemeClr>
                </a:solidFill>
                <a:cs typeface="Calibri"/>
              </a:rPr>
              <a:t>Tools -  STS, Eclipse</a:t>
            </a:r>
          </a:p>
          <a:p>
            <a:pPr marL="115888" lvl="0" indent="-115888" eaLnBrk="0" hangingPunct="0">
              <a:spcBef>
                <a:spcPts val="200"/>
              </a:spcBef>
              <a:spcAft>
                <a:spcPts val="200"/>
              </a:spcAft>
              <a:buClr>
                <a:schemeClr val="accent2"/>
              </a:buClr>
              <a:buFont typeface="Wingdings" pitchFamily="2" charset="2"/>
              <a:buChar char="§"/>
            </a:pPr>
            <a:r>
              <a:rPr lang="en-US" sz="1050" dirty="0" smtClean="0">
                <a:solidFill>
                  <a:schemeClr val="tx1">
                    <a:lumMod val="85000"/>
                    <a:lumOff val="15000"/>
                  </a:schemeClr>
                </a:solidFill>
                <a:cs typeface="Calibri"/>
              </a:rPr>
              <a:t>Web Technology - HTML, CSS, PHP, JavaScript, JQuery </a:t>
            </a:r>
          </a:p>
          <a:p>
            <a:pPr marL="115888" lvl="0" indent="-115888" eaLnBrk="0" hangingPunct="0">
              <a:spcBef>
                <a:spcPts val="200"/>
              </a:spcBef>
              <a:spcAft>
                <a:spcPts val="200"/>
              </a:spcAft>
              <a:buClr>
                <a:schemeClr val="accent2"/>
              </a:buClr>
              <a:buFont typeface="Wingdings" pitchFamily="2" charset="2"/>
              <a:buChar char="§"/>
            </a:pPr>
            <a:r>
              <a:rPr lang="en-US" sz="1050" dirty="0" smtClean="0">
                <a:solidFill>
                  <a:schemeClr val="tx1">
                    <a:lumMod val="85000"/>
                    <a:lumOff val="15000"/>
                  </a:schemeClr>
                </a:solidFill>
                <a:cs typeface="Calibri"/>
              </a:rPr>
              <a:t>Databases - </a:t>
            </a:r>
            <a:r>
              <a:rPr lang="en-US" sz="1050" dirty="0" smtClean="0"/>
              <a:t>MySQL, MongoDB, Oracle</a:t>
            </a:r>
          </a:p>
          <a:p>
            <a:pPr marL="115888" lvl="0" indent="-115888" eaLnBrk="0" hangingPunct="0">
              <a:spcBef>
                <a:spcPts val="200"/>
              </a:spcBef>
              <a:spcAft>
                <a:spcPts val="200"/>
              </a:spcAft>
              <a:buClr>
                <a:schemeClr val="accent2"/>
              </a:buClr>
              <a:buFont typeface="Wingdings" pitchFamily="2" charset="2"/>
              <a:buChar char="§"/>
            </a:pPr>
            <a:r>
              <a:rPr lang="en-US" sz="1050" dirty="0" smtClean="0">
                <a:solidFill>
                  <a:schemeClr val="tx1">
                    <a:lumMod val="85000"/>
                    <a:lumOff val="15000"/>
                  </a:schemeClr>
                </a:solidFill>
                <a:cs typeface="Calibri"/>
              </a:rPr>
              <a:t>Operating System – Windows, Linux(Ubuntu)</a:t>
            </a:r>
          </a:p>
        </p:txBody>
      </p:sp>
      <p:sp>
        <p:nvSpPr>
          <p:cNvPr id="9" name="Round Same Side Corner Rectangle 8"/>
          <p:cNvSpPr>
            <a:spLocks noChangeArrowheads="1"/>
          </p:cNvSpPr>
          <p:nvPr>
            <p:custDataLst>
              <p:tags r:id="rId7"/>
            </p:custDataLst>
          </p:nvPr>
        </p:nvSpPr>
        <p:spPr bwMode="auto">
          <a:xfrm>
            <a:off x="4339806" y="1093871"/>
            <a:ext cx="4571062" cy="330200"/>
          </a:xfrm>
          <a:prstGeom prst="round2SameRect">
            <a:avLst/>
          </a:prstGeom>
          <a:solidFill>
            <a:srgbClr val="009ACC"/>
          </a:solidFill>
          <a:ln w="28575" cap="flat" cmpd="sng" algn="ctr">
            <a:solidFill>
              <a:srgbClr val="009ACC"/>
            </a:solidFill>
            <a:prstDash val="solid"/>
            <a:headEnd type="none" w="med" len="med"/>
            <a:tailEnd type="none" w="med" len="med"/>
          </a:ln>
          <a:effectLst>
            <a:outerShdw blurRad="40000" dist="23000" dir="5400000" rotWithShape="0">
              <a:srgbClr val="000000">
                <a:alpha val="35000"/>
              </a:srgbClr>
            </a:outerShdw>
          </a:effectLst>
        </p:spPr>
        <p:txBody>
          <a:bodyPr lIns="45720" rIns="45720" anchor="ctr" anchorCtr="0"/>
          <a:lstStyle/>
          <a:p>
            <a:pPr indent="-195263" algn="ctr" fontAlgn="auto">
              <a:spcBef>
                <a:spcPct val="80000"/>
              </a:spcBef>
              <a:spcAft>
                <a:spcPct val="50000"/>
              </a:spcAft>
              <a:buClr>
                <a:srgbClr val="00539B"/>
              </a:buClr>
              <a:defRPr/>
            </a:pPr>
            <a:r>
              <a:rPr lang="en-US" sz="1050" b="1" kern="0" dirty="0" smtClean="0">
                <a:solidFill>
                  <a:sysClr val="window" lastClr="FFFFFF"/>
                </a:solidFill>
                <a:latin typeface="Arial"/>
                <a:ea typeface="+mn-ea"/>
              </a:rPr>
              <a:t>Industry and Project Experience</a:t>
            </a:r>
          </a:p>
        </p:txBody>
      </p:sp>
      <p:sp>
        <p:nvSpPr>
          <p:cNvPr id="10" name="Round Same Side Corner Rectangle 9"/>
          <p:cNvSpPr>
            <a:spLocks noChangeArrowheads="1"/>
          </p:cNvSpPr>
          <p:nvPr>
            <p:custDataLst>
              <p:tags r:id="rId8"/>
            </p:custDataLst>
          </p:nvPr>
        </p:nvSpPr>
        <p:spPr bwMode="auto">
          <a:xfrm>
            <a:off x="233128" y="4456163"/>
            <a:ext cx="3924000" cy="360000"/>
          </a:xfrm>
          <a:prstGeom prst="round2SameRect">
            <a:avLst/>
          </a:prstGeom>
          <a:solidFill>
            <a:srgbClr val="009ACC"/>
          </a:solidFill>
          <a:ln w="28575" cap="flat" cmpd="sng" algn="ctr">
            <a:solidFill>
              <a:srgbClr val="009ACC"/>
            </a:solidFill>
            <a:prstDash val="solid"/>
            <a:headEnd type="none" w="med" len="med"/>
            <a:tailEnd type="none" w="med" len="med"/>
          </a:ln>
          <a:effectLst>
            <a:outerShdw blurRad="40000" dist="23000" dir="5400000" rotWithShape="0">
              <a:srgbClr val="000000">
                <a:alpha val="35000"/>
              </a:srgbClr>
            </a:outerShdw>
          </a:effectLst>
        </p:spPr>
        <p:txBody>
          <a:bodyPr lIns="45720" rIns="45720" anchor="ctr" anchorCtr="0"/>
          <a:lstStyle/>
          <a:p>
            <a:pPr indent="-195263" algn="ctr" fontAlgn="auto">
              <a:spcBef>
                <a:spcPct val="80000"/>
              </a:spcBef>
              <a:spcAft>
                <a:spcPct val="50000"/>
              </a:spcAft>
              <a:buClr>
                <a:srgbClr val="00539B"/>
              </a:buClr>
              <a:defRPr/>
            </a:pPr>
            <a:r>
              <a:rPr lang="en-US" sz="1050" b="1" kern="0" dirty="0" smtClean="0">
                <a:solidFill>
                  <a:sysClr val="window" lastClr="FFFFFF"/>
                </a:solidFill>
                <a:latin typeface="Arial"/>
                <a:ea typeface="+mn-ea"/>
              </a:rPr>
              <a:t>Business Experience</a:t>
            </a:r>
            <a:endParaRPr lang="en-US" sz="1050" b="1" kern="0" dirty="0">
              <a:solidFill>
                <a:sysClr val="window" lastClr="FFFFFF"/>
              </a:solidFill>
              <a:latin typeface="Arial"/>
              <a:ea typeface="+mn-ea"/>
            </a:endParaRPr>
          </a:p>
        </p:txBody>
      </p:sp>
      <p:sp>
        <p:nvSpPr>
          <p:cNvPr id="11" name="Rectangle 10"/>
          <p:cNvSpPr>
            <a:spLocks noChangeArrowheads="1"/>
          </p:cNvSpPr>
          <p:nvPr>
            <p:custDataLst>
              <p:tags r:id="rId9"/>
            </p:custDataLst>
          </p:nvPr>
        </p:nvSpPr>
        <p:spPr bwMode="auto">
          <a:xfrm>
            <a:off x="242504" y="4915986"/>
            <a:ext cx="3924000" cy="1165224"/>
          </a:xfrm>
          <a:prstGeom prst="rect">
            <a:avLst/>
          </a:prstGeom>
          <a:solidFill>
            <a:schemeClr val="bg1"/>
          </a:solidFill>
          <a:ln w="9525"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90000" tIns="54000" rIns="90000" bIns="46800" numCol="1" spcCol="108000"/>
          <a:lstStyle/>
          <a:p>
            <a:pPr marL="128588" lvl="1" indent="-128588" eaLnBrk="0" hangingPunct="0">
              <a:spcBef>
                <a:spcPts val="0"/>
              </a:spcBef>
              <a:spcAft>
                <a:spcPts val="0"/>
              </a:spcAft>
              <a:buClr>
                <a:schemeClr val="accent2"/>
              </a:buClr>
              <a:buSzPct val="120000"/>
              <a:buFont typeface="Wingdings" pitchFamily="2" charset="2"/>
              <a:buChar char="§"/>
              <a:tabLst>
                <a:tab pos="6464300" algn="r"/>
              </a:tabLst>
              <a:defRPr/>
            </a:pPr>
            <a:r>
              <a:rPr lang="en-US" sz="1050" dirty="0" smtClean="0">
                <a:solidFill>
                  <a:schemeClr val="tx1">
                    <a:lumMod val="85000"/>
                    <a:lumOff val="15000"/>
                  </a:schemeClr>
                </a:solidFill>
                <a:cs typeface="Arial" pitchFamily="34" charset="0"/>
              </a:rPr>
              <a:t>Abhishek Jaiswal </a:t>
            </a:r>
            <a:r>
              <a:rPr lang="en-US" sz="1050" dirty="0">
                <a:solidFill>
                  <a:schemeClr val="tx1">
                    <a:lumMod val="85000"/>
                    <a:lumOff val="15000"/>
                  </a:schemeClr>
                </a:solidFill>
                <a:cs typeface="Arial" pitchFamily="34" charset="0"/>
              </a:rPr>
              <a:t>is a fresher in </a:t>
            </a:r>
            <a:r>
              <a:rPr lang="en-US" sz="1050" dirty="0">
                <a:solidFill>
                  <a:schemeClr val="tx1">
                    <a:lumMod val="85000"/>
                    <a:lumOff val="15000"/>
                  </a:schemeClr>
                </a:solidFill>
                <a:cs typeface="Calibri"/>
              </a:rPr>
              <a:t>professional software development.</a:t>
            </a:r>
            <a:endParaRPr lang="en-US" sz="1050" dirty="0">
              <a:solidFill>
                <a:schemeClr val="tx1">
                  <a:lumMod val="85000"/>
                  <a:lumOff val="15000"/>
                </a:schemeClr>
              </a:solidFill>
              <a:cs typeface="Arial" pitchFamily="34" charset="0"/>
            </a:endParaRPr>
          </a:p>
          <a:p>
            <a:r>
              <a:rPr lang="en-US" dirty="0"/>
              <a:t> </a:t>
            </a:r>
            <a:endParaRPr lang="en-US" sz="2400" dirty="0"/>
          </a:p>
          <a:p>
            <a:pPr marL="128588" lvl="1" indent="-128588" eaLnBrk="0" hangingPunct="0">
              <a:spcBef>
                <a:spcPts val="0"/>
              </a:spcBef>
              <a:spcAft>
                <a:spcPts val="0"/>
              </a:spcAft>
              <a:buClr>
                <a:schemeClr val="accent2"/>
              </a:buClr>
              <a:buSzPct val="120000"/>
              <a:buFont typeface="Wingdings" pitchFamily="2" charset="2"/>
              <a:buChar char="§"/>
              <a:tabLst>
                <a:tab pos="6464300" algn="r"/>
              </a:tabLst>
              <a:defRPr/>
            </a:pPr>
            <a:endParaRPr lang="en-US" sz="1050" dirty="0" smtClean="0">
              <a:solidFill>
                <a:schemeClr val="tx1">
                  <a:lumMod val="85000"/>
                  <a:lumOff val="15000"/>
                </a:schemeClr>
              </a:solidFill>
              <a:cs typeface="Arial" pitchFamily="34" charset="0"/>
            </a:endParaRPr>
          </a:p>
          <a:p>
            <a:pPr marL="0" lvl="1" eaLnBrk="0" hangingPunct="0">
              <a:buClr>
                <a:schemeClr val="accent2"/>
              </a:buClr>
              <a:buSzPct val="120000"/>
              <a:tabLst>
                <a:tab pos="6464300" algn="r"/>
              </a:tabLst>
              <a:defRPr/>
            </a:pPr>
            <a:endParaRPr lang="en-US" sz="1050" dirty="0" smtClean="0">
              <a:solidFill>
                <a:schemeClr val="tx1">
                  <a:lumMod val="85000"/>
                  <a:lumOff val="15000"/>
                </a:schemeClr>
              </a:solidFill>
              <a:cs typeface="Arial" pitchFamily="34" charset="0"/>
            </a:endParaRPr>
          </a:p>
        </p:txBody>
      </p:sp>
      <p:sp>
        <p:nvSpPr>
          <p:cNvPr id="12" name="Rectangle 15"/>
          <p:cNvSpPr>
            <a:spLocks noChangeArrowheads="1"/>
          </p:cNvSpPr>
          <p:nvPr>
            <p:custDataLst>
              <p:tags r:id="rId10"/>
            </p:custDataLst>
          </p:nvPr>
        </p:nvSpPr>
        <p:spPr bwMode="auto">
          <a:xfrm>
            <a:off x="4339806" y="1441323"/>
            <a:ext cx="4571062" cy="4541741"/>
          </a:xfrm>
          <a:prstGeom prst="rect">
            <a:avLst/>
          </a:prstGeom>
          <a:solidFill>
            <a:schemeClr val="bg1"/>
          </a:solidFill>
          <a:ln w="9525"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90000" tIns="54000" rIns="90000" bIns="46800"/>
          <a:lstStyle/>
          <a:p>
            <a:pPr marL="144463" lvl="1" indent="-144463" eaLnBrk="0" hangingPunct="0">
              <a:spcBef>
                <a:spcPts val="0"/>
              </a:spcBef>
              <a:spcAft>
                <a:spcPts val="0"/>
              </a:spcAft>
              <a:buClr>
                <a:schemeClr val="accent2"/>
              </a:buClr>
              <a:buSzPct val="120000"/>
              <a:tabLst>
                <a:tab pos="6464300" algn="r"/>
              </a:tabLst>
              <a:defRPr/>
            </a:pPr>
            <a:r>
              <a:rPr lang="en-US" sz="1050" b="1" dirty="0" smtClean="0"/>
              <a:t>Banking System</a:t>
            </a:r>
          </a:p>
          <a:p>
            <a:pPr marL="144463" lvl="1" indent="-144463" eaLnBrk="0" hangingPunct="0">
              <a:spcBef>
                <a:spcPts val="0"/>
              </a:spcBef>
              <a:spcAft>
                <a:spcPts val="0"/>
              </a:spcAft>
              <a:buClr>
                <a:schemeClr val="accent2"/>
              </a:buClr>
              <a:buSzPct val="120000"/>
              <a:tabLst>
                <a:tab pos="6464300" algn="r"/>
              </a:tabLst>
              <a:defRPr/>
            </a:pPr>
            <a:r>
              <a:rPr lang="en-US" sz="1050" b="1" dirty="0"/>
              <a:t> </a:t>
            </a:r>
            <a:r>
              <a:rPr lang="en-US" sz="1050" b="1" dirty="0" smtClean="0"/>
              <a:t>                          </a:t>
            </a:r>
            <a:r>
              <a:rPr lang="en-US" sz="1050" dirty="0" smtClean="0"/>
              <a:t>Developed Banking application with Audit Log Tracking(separate application that tracks all changes in banking application) using Spring Boot that contains different services like creation of bank, account, customer, deposit &amp; withdrawal from bank as well as ATM, transaction details. Registered these services on Eureka, used Zuul API gateway, also used Feign Client, deployed this application on cloud(AWS), did unit testing using Mockito.</a:t>
            </a:r>
          </a:p>
          <a:p>
            <a:pPr marL="144463" lvl="1" indent="-144463" eaLnBrk="0" hangingPunct="0">
              <a:spcBef>
                <a:spcPts val="0"/>
              </a:spcBef>
              <a:spcAft>
                <a:spcPts val="0"/>
              </a:spcAft>
              <a:buClr>
                <a:schemeClr val="accent2"/>
              </a:buClr>
              <a:buSzPct val="120000"/>
              <a:tabLst>
                <a:tab pos="6464300" algn="r"/>
              </a:tabLst>
              <a:defRPr/>
            </a:pPr>
            <a:endParaRPr lang="en-US" sz="1050" dirty="0" smtClean="0"/>
          </a:p>
          <a:p>
            <a:pPr marL="144463" lvl="1" indent="-144463" eaLnBrk="0" hangingPunct="0">
              <a:spcBef>
                <a:spcPts val="0"/>
              </a:spcBef>
              <a:spcAft>
                <a:spcPts val="0"/>
              </a:spcAft>
              <a:buClr>
                <a:schemeClr val="accent2"/>
              </a:buClr>
              <a:buSzPct val="120000"/>
              <a:tabLst>
                <a:tab pos="6464300" algn="r"/>
              </a:tabLst>
              <a:defRPr/>
            </a:pPr>
            <a:r>
              <a:rPr lang="en-US" sz="1050" dirty="0" smtClean="0"/>
              <a:t>    Beside this also tried my hand on Spring Security, OAuth2 &amp; RabbitMQ.</a:t>
            </a:r>
          </a:p>
          <a:p>
            <a:pPr marL="144463" lvl="1" indent="-144463" eaLnBrk="0" hangingPunct="0">
              <a:spcBef>
                <a:spcPts val="0"/>
              </a:spcBef>
              <a:spcAft>
                <a:spcPts val="0"/>
              </a:spcAft>
              <a:buClr>
                <a:schemeClr val="accent2"/>
              </a:buClr>
              <a:buSzPct val="120000"/>
              <a:tabLst>
                <a:tab pos="6464300" algn="r"/>
              </a:tabLst>
              <a:defRPr/>
            </a:pPr>
            <a:endParaRPr lang="en-US" sz="1050" dirty="0"/>
          </a:p>
          <a:p>
            <a:pPr marL="144463" lvl="1" indent="-144463" eaLnBrk="0" hangingPunct="0">
              <a:spcBef>
                <a:spcPts val="0"/>
              </a:spcBef>
              <a:spcAft>
                <a:spcPts val="0"/>
              </a:spcAft>
              <a:buClr>
                <a:schemeClr val="accent2"/>
              </a:buClr>
              <a:buSzPct val="120000"/>
              <a:tabLst>
                <a:tab pos="6464300" algn="r"/>
              </a:tabLst>
              <a:defRPr/>
            </a:pPr>
            <a:r>
              <a:rPr lang="en-US" sz="1050" b="1" dirty="0" smtClean="0"/>
              <a:t>Question-Answer System using Question Classification</a:t>
            </a:r>
            <a:r>
              <a:rPr lang="en-US" sz="1050" b="1" dirty="0"/>
              <a:t>(J2SE)</a:t>
            </a:r>
            <a:endParaRPr lang="en-US" sz="1050" b="1" dirty="0" smtClean="0"/>
          </a:p>
          <a:p>
            <a:pPr marL="144463" lvl="1" indent="-144463" eaLnBrk="0" hangingPunct="0">
              <a:spcBef>
                <a:spcPts val="0"/>
              </a:spcBef>
              <a:spcAft>
                <a:spcPts val="0"/>
              </a:spcAft>
              <a:buClr>
                <a:schemeClr val="accent2"/>
              </a:buClr>
              <a:buSzPct val="120000"/>
              <a:tabLst>
                <a:tab pos="6464300" algn="r"/>
              </a:tabLst>
              <a:defRPr/>
            </a:pPr>
            <a:r>
              <a:rPr lang="en-US" sz="1050" b="1" dirty="0"/>
              <a:t>	</a:t>
            </a:r>
            <a:r>
              <a:rPr lang="en-US" sz="1050" b="1" dirty="0" smtClean="0"/>
              <a:t>                        </a:t>
            </a:r>
            <a:r>
              <a:rPr lang="en-US" sz="1050" dirty="0" smtClean="0"/>
              <a:t>The proposed architecture(desktop application) uses the question class so that answers can be searched in that particular domain from web.</a:t>
            </a:r>
          </a:p>
          <a:p>
            <a:pPr marL="144463" lvl="1" indent="-144463" eaLnBrk="0" hangingPunct="0">
              <a:spcBef>
                <a:spcPts val="0"/>
              </a:spcBef>
              <a:spcAft>
                <a:spcPts val="0"/>
              </a:spcAft>
              <a:buClr>
                <a:schemeClr val="accent2"/>
              </a:buClr>
              <a:buSzPct val="120000"/>
              <a:tabLst>
                <a:tab pos="6464300" algn="r"/>
              </a:tabLst>
              <a:defRPr/>
            </a:pPr>
            <a:endParaRPr lang="en-US" sz="1050" dirty="0" smtClean="0"/>
          </a:p>
          <a:p>
            <a:pPr marL="144463" lvl="1" indent="-144463" eaLnBrk="0" hangingPunct="0">
              <a:spcBef>
                <a:spcPts val="0"/>
              </a:spcBef>
              <a:spcAft>
                <a:spcPts val="0"/>
              </a:spcAft>
              <a:buClr>
                <a:schemeClr val="accent2"/>
              </a:buClr>
              <a:buSzPct val="120000"/>
              <a:tabLst>
                <a:tab pos="6464300" algn="r"/>
              </a:tabLst>
              <a:defRPr/>
            </a:pPr>
            <a:r>
              <a:rPr lang="en-US" sz="1050" b="1" dirty="0" smtClean="0"/>
              <a:t>Vehicle Investigation System</a:t>
            </a:r>
          </a:p>
          <a:p>
            <a:pPr marL="144463" lvl="1" indent="-144463" eaLnBrk="0" hangingPunct="0">
              <a:spcBef>
                <a:spcPts val="0"/>
              </a:spcBef>
              <a:spcAft>
                <a:spcPts val="0"/>
              </a:spcAft>
              <a:buClr>
                <a:schemeClr val="accent2"/>
              </a:buClr>
              <a:buSzPct val="120000"/>
              <a:tabLst>
                <a:tab pos="6464300" algn="r"/>
              </a:tabLst>
              <a:defRPr/>
            </a:pPr>
            <a:r>
              <a:rPr lang="en-US" sz="1050" b="1" dirty="0"/>
              <a:t> </a:t>
            </a:r>
            <a:r>
              <a:rPr lang="en-US" sz="1050" b="1" dirty="0" smtClean="0"/>
              <a:t>                             </a:t>
            </a:r>
            <a:r>
              <a:rPr lang="en-US" sz="1050" dirty="0" smtClean="0"/>
              <a:t>This is a web portal aimed at bringing Delhi Transport Authority work on digital platform.</a:t>
            </a:r>
            <a:endParaRPr lang="en-US" sz="1050" b="1" dirty="0" smtClean="0"/>
          </a:p>
          <a:p>
            <a:pPr marL="144463" lvl="1" indent="-144463" eaLnBrk="0" hangingPunct="0">
              <a:spcBef>
                <a:spcPts val="0"/>
              </a:spcBef>
              <a:spcAft>
                <a:spcPts val="0"/>
              </a:spcAft>
              <a:buClr>
                <a:schemeClr val="accent2"/>
              </a:buClr>
              <a:buSzPct val="120000"/>
              <a:tabLst>
                <a:tab pos="6464300" algn="r"/>
              </a:tabLst>
              <a:defRPr/>
            </a:pPr>
            <a:r>
              <a:rPr lang="en-US" sz="1050" b="1" dirty="0"/>
              <a:t> </a:t>
            </a:r>
            <a:r>
              <a:rPr lang="en-US" sz="1050" b="1" dirty="0" smtClean="0"/>
              <a:t>                         </a:t>
            </a:r>
            <a:endParaRPr lang="en-US" sz="1050" b="1" dirty="0" smtClean="0">
              <a:solidFill>
                <a:schemeClr val="tx1">
                  <a:lumMod val="85000"/>
                  <a:lumOff val="15000"/>
                </a:schemeClr>
              </a:solidFill>
              <a:cs typeface="Calibri"/>
            </a:endParaRPr>
          </a:p>
          <a:p>
            <a:pPr lvl="0" eaLnBrk="0" hangingPunct="0">
              <a:spcBef>
                <a:spcPts val="200"/>
              </a:spcBef>
              <a:spcAft>
                <a:spcPts val="200"/>
              </a:spcAft>
              <a:buClr>
                <a:schemeClr val="accent2"/>
              </a:buClr>
            </a:pPr>
            <a:r>
              <a:rPr lang="en-US" sz="1050" b="1" dirty="0" smtClean="0">
                <a:solidFill>
                  <a:schemeClr val="tx1">
                    <a:lumMod val="85000"/>
                    <a:lumOff val="15000"/>
                  </a:schemeClr>
                </a:solidFill>
                <a:cs typeface="Calibri"/>
              </a:rPr>
              <a:t>Training / Certification</a:t>
            </a:r>
            <a:endParaRPr lang="en-US" sz="1050" dirty="0" smtClean="0"/>
          </a:p>
          <a:p>
            <a:pPr marL="115888" indent="-115888" eaLnBrk="0" hangingPunct="0">
              <a:spcBef>
                <a:spcPts val="200"/>
              </a:spcBef>
              <a:spcAft>
                <a:spcPts val="200"/>
              </a:spcAft>
              <a:buClr>
                <a:schemeClr val="accent2"/>
              </a:buClr>
              <a:buFont typeface="Wingdings" pitchFamily="2" charset="2"/>
              <a:buChar char="§"/>
            </a:pPr>
            <a:r>
              <a:rPr lang="en-US" sz="1050" dirty="0" smtClean="0">
                <a:solidFill>
                  <a:schemeClr val="tx1">
                    <a:lumMod val="85000"/>
                    <a:lumOff val="15000"/>
                  </a:schemeClr>
                </a:solidFill>
              </a:rPr>
              <a:t>Undergone training in IT department of NTPC, Delhi  (1 Month)</a:t>
            </a:r>
          </a:p>
          <a:p>
            <a:pPr marL="115888" indent="-115888" eaLnBrk="0" hangingPunct="0">
              <a:spcBef>
                <a:spcPts val="200"/>
              </a:spcBef>
              <a:spcAft>
                <a:spcPts val="200"/>
              </a:spcAft>
              <a:buClr>
                <a:schemeClr val="accent2"/>
              </a:buClr>
              <a:buFont typeface="Wingdings" pitchFamily="2" charset="2"/>
              <a:buChar char="§"/>
            </a:pPr>
            <a:r>
              <a:rPr lang="en-US" sz="1050" dirty="0" smtClean="0">
                <a:solidFill>
                  <a:schemeClr val="tx1">
                    <a:lumMod val="85000"/>
                    <a:lumOff val="15000"/>
                  </a:schemeClr>
                </a:solidFill>
              </a:rPr>
              <a:t>Learnt different technologies from CDAC(diploma), Bangalore                 (6 Months)</a:t>
            </a:r>
          </a:p>
          <a:p>
            <a:pPr marL="115888" indent="-115888" eaLnBrk="0" hangingPunct="0">
              <a:spcBef>
                <a:spcPts val="200"/>
              </a:spcBef>
              <a:spcAft>
                <a:spcPts val="200"/>
              </a:spcAft>
              <a:buClr>
                <a:schemeClr val="accent2"/>
              </a:buClr>
              <a:buFont typeface="Wingdings" pitchFamily="2" charset="2"/>
              <a:buChar char="§"/>
            </a:pPr>
            <a:r>
              <a:rPr lang="en-US" sz="1050" dirty="0">
                <a:solidFill>
                  <a:schemeClr val="tx1">
                    <a:lumMod val="85000"/>
                    <a:lumOff val="15000"/>
                  </a:schemeClr>
                </a:solidFill>
              </a:rPr>
              <a:t>Aspire to do certification </a:t>
            </a:r>
            <a:r>
              <a:rPr lang="en-US" sz="1050">
                <a:solidFill>
                  <a:schemeClr val="tx1">
                    <a:lumMod val="85000"/>
                    <a:lumOff val="15000"/>
                  </a:schemeClr>
                </a:solidFill>
              </a:rPr>
              <a:t>in </a:t>
            </a:r>
            <a:r>
              <a:rPr lang="en-US" sz="1050" smtClean="0">
                <a:solidFill>
                  <a:schemeClr val="tx1">
                    <a:lumMod val="85000"/>
                    <a:lumOff val="15000"/>
                  </a:schemeClr>
                </a:solidFill>
              </a:rPr>
              <a:t>OCAJP, </a:t>
            </a:r>
            <a:r>
              <a:rPr lang="en-US" sz="1050" dirty="0" smtClean="0">
                <a:solidFill>
                  <a:schemeClr val="tx1">
                    <a:lumMod val="85000"/>
                    <a:lumOff val="15000"/>
                  </a:schemeClr>
                </a:solidFill>
              </a:rPr>
              <a:t>AWS</a:t>
            </a:r>
            <a:endParaRPr lang="en-US" sz="1050" dirty="0">
              <a:solidFill>
                <a:schemeClr val="tx1">
                  <a:lumMod val="85000"/>
                  <a:lumOff val="15000"/>
                </a:schemeClr>
              </a:solidFill>
            </a:endParaRPr>
          </a:p>
        </p:txBody>
      </p:sp>
      <p:sp>
        <p:nvSpPr>
          <p:cNvPr id="13" name="Rectangle 15"/>
          <p:cNvSpPr>
            <a:spLocks noChangeArrowheads="1"/>
          </p:cNvSpPr>
          <p:nvPr>
            <p:custDataLst>
              <p:tags r:id="rId11"/>
            </p:custDataLst>
          </p:nvPr>
        </p:nvSpPr>
        <p:spPr bwMode="auto">
          <a:xfrm>
            <a:off x="2012748" y="1106734"/>
            <a:ext cx="2144379" cy="400394"/>
          </a:xfrm>
          <a:prstGeom prst="rect">
            <a:avLst/>
          </a:prstGeom>
          <a:solidFill>
            <a:schemeClr val="bg1"/>
          </a:solidFill>
          <a:ln w="9525" cap="flat" cmpd="sng" algn="ctr">
            <a:solidFill>
              <a:schemeClr val="bg1">
                <a:lumMod val="65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wrap="square" lIns="90000" tIns="46800" rIns="90000" bIns="46800" anchor="ctr"/>
          <a:lstStyle/>
          <a:p>
            <a:r>
              <a:rPr lang="en-US" sz="1050" dirty="0" smtClean="0">
                <a:solidFill>
                  <a:schemeClr val="tx1">
                    <a:lumMod val="85000"/>
                    <a:lumOff val="15000"/>
                  </a:schemeClr>
                </a:solidFill>
                <a:cs typeface="Arial" pitchFamily="34" charset="0"/>
              </a:rPr>
              <a:t>Abhishek Jaiswal</a:t>
            </a:r>
          </a:p>
        </p:txBody>
      </p:sp>
      <p:sp>
        <p:nvSpPr>
          <p:cNvPr id="14" name="Rectangle 14"/>
          <p:cNvSpPr>
            <a:spLocks noChangeArrowheads="1"/>
          </p:cNvSpPr>
          <p:nvPr>
            <p:custDataLst>
              <p:tags r:id="rId12"/>
            </p:custDataLst>
          </p:nvPr>
        </p:nvSpPr>
        <p:spPr bwMode="auto">
          <a:xfrm>
            <a:off x="2012751" y="1369200"/>
            <a:ext cx="2144379" cy="283774"/>
          </a:xfrm>
          <a:prstGeom prst="rect">
            <a:avLst/>
          </a:prstGeom>
          <a:solidFill>
            <a:schemeClr val="bg1"/>
          </a:solidFill>
          <a:ln w="9525" cap="flat" cmpd="sng" algn="ctr">
            <a:solidFill>
              <a:schemeClr val="bg1">
                <a:lumMod val="65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wrap="square" lIns="90000" tIns="46800" rIns="90000" bIns="46800" anchor="ctr"/>
          <a:lstStyle/>
          <a:p>
            <a:pPr eaLnBrk="0" hangingPunct="0">
              <a:spcBef>
                <a:spcPct val="40000"/>
              </a:spcBef>
              <a:tabLst>
                <a:tab pos="6464300" algn="r"/>
              </a:tabLst>
            </a:pPr>
            <a:r>
              <a:rPr lang="en-US" sz="1050" dirty="0" smtClean="0">
                <a:solidFill>
                  <a:schemeClr val="tx1">
                    <a:lumMod val="85000"/>
                    <a:lumOff val="15000"/>
                  </a:schemeClr>
                </a:solidFill>
                <a:cs typeface="Arial" pitchFamily="34" charset="0"/>
              </a:rPr>
              <a:t>Analyst/Software Engineer (A4)</a:t>
            </a:r>
          </a:p>
        </p:txBody>
      </p:sp>
      <p:sp>
        <p:nvSpPr>
          <p:cNvPr id="15" name="Rectangle 13"/>
          <p:cNvSpPr>
            <a:spLocks noChangeArrowheads="1"/>
          </p:cNvSpPr>
          <p:nvPr>
            <p:custDataLst>
              <p:tags r:id="rId13"/>
            </p:custDataLst>
          </p:nvPr>
        </p:nvSpPr>
        <p:spPr bwMode="auto">
          <a:xfrm>
            <a:off x="2012749" y="1643721"/>
            <a:ext cx="2144379" cy="241200"/>
          </a:xfrm>
          <a:prstGeom prst="rect">
            <a:avLst/>
          </a:prstGeom>
          <a:solidFill>
            <a:schemeClr val="bg1"/>
          </a:solidFill>
          <a:ln w="9525" cap="flat" cmpd="sng" algn="ctr">
            <a:solidFill>
              <a:schemeClr val="bg1">
                <a:lumMod val="65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wrap="square" lIns="90000" tIns="46800" rIns="90000" bIns="46800" anchor="ctr"/>
          <a:lstStyle/>
          <a:p>
            <a:pPr marL="682625" indent="-682625" eaLnBrk="0" hangingPunct="0">
              <a:lnSpc>
                <a:spcPct val="90000"/>
              </a:lnSpc>
              <a:spcBef>
                <a:spcPct val="80000"/>
              </a:spcBef>
              <a:buClr>
                <a:srgbClr val="006C8E"/>
              </a:buClr>
              <a:tabLst>
                <a:tab pos="4186238" algn="r"/>
              </a:tabLst>
            </a:pPr>
            <a:r>
              <a:rPr lang="en-US" sz="1050" dirty="0" smtClean="0">
                <a:solidFill>
                  <a:schemeClr val="tx1">
                    <a:lumMod val="85000"/>
                    <a:lumOff val="15000"/>
                  </a:schemeClr>
                </a:solidFill>
                <a:cs typeface="Arial" pitchFamily="34" charset="0"/>
              </a:rPr>
              <a:t>Mumbai-</a:t>
            </a:r>
            <a:r>
              <a:rPr lang="en-US" sz="1050" dirty="0" err="1" smtClean="0"/>
              <a:t>Airoli</a:t>
            </a:r>
            <a:r>
              <a:rPr lang="en-US" sz="1050" dirty="0" smtClean="0"/>
              <a:t>-Yosemite</a:t>
            </a:r>
            <a:r>
              <a:rPr lang="en-US" sz="1050" dirty="0" smtClean="0">
                <a:solidFill>
                  <a:schemeClr val="tx1">
                    <a:lumMod val="85000"/>
                    <a:lumOff val="15000"/>
                  </a:schemeClr>
                </a:solidFill>
                <a:cs typeface="Arial" pitchFamily="34" charset="0"/>
              </a:rPr>
              <a:t>, India</a:t>
            </a:r>
          </a:p>
        </p:txBody>
      </p:sp>
      <p:sp>
        <p:nvSpPr>
          <p:cNvPr id="16" name="Rectangle 12"/>
          <p:cNvSpPr>
            <a:spLocks noChangeArrowheads="1"/>
          </p:cNvSpPr>
          <p:nvPr>
            <p:custDataLst>
              <p:tags r:id="rId14"/>
            </p:custDataLst>
          </p:nvPr>
        </p:nvSpPr>
        <p:spPr bwMode="auto">
          <a:xfrm>
            <a:off x="2012747" y="1830701"/>
            <a:ext cx="2144379" cy="313650"/>
          </a:xfrm>
          <a:prstGeom prst="rect">
            <a:avLst/>
          </a:prstGeom>
          <a:solidFill>
            <a:schemeClr val="bg1"/>
          </a:solidFill>
          <a:ln w="9525" cap="flat" cmpd="sng" algn="ctr">
            <a:solidFill>
              <a:schemeClr val="bg1">
                <a:lumMod val="65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wrap="square" lIns="90000" tIns="46800" rIns="90000" bIns="46800" anchor="ctr"/>
          <a:lstStyle/>
          <a:p>
            <a:pPr eaLnBrk="0" hangingPunct="0">
              <a:spcBef>
                <a:spcPct val="40000"/>
              </a:spcBef>
              <a:tabLst>
                <a:tab pos="6464300" algn="r"/>
              </a:tabLst>
            </a:pPr>
            <a:r>
              <a:rPr lang="en-US" sz="1050" dirty="0" smtClean="0">
                <a:solidFill>
                  <a:schemeClr val="tx1">
                    <a:lumMod val="85000"/>
                    <a:lumOff val="15000"/>
                  </a:schemeClr>
                </a:solidFill>
                <a:cs typeface="Arial" pitchFamily="34" charset="0"/>
              </a:rPr>
              <a:t>Java, Spring, Spring Boot, AWS</a:t>
            </a:r>
          </a:p>
        </p:txBody>
      </p:sp>
      <p:sp>
        <p:nvSpPr>
          <p:cNvPr id="18" name="Title 4"/>
          <p:cNvSpPr>
            <a:spLocks noGrp="1"/>
          </p:cNvSpPr>
          <p:nvPr>
            <p:ph type="title"/>
          </p:nvPr>
        </p:nvSpPr>
        <p:spPr>
          <a:xfrm>
            <a:off x="0" y="0"/>
            <a:ext cx="8823957" cy="822960"/>
          </a:xfrm>
        </p:spPr>
        <p:txBody>
          <a:bodyPr/>
          <a:lstStyle/>
          <a:p>
            <a:r>
              <a:rPr lang="en-US" sz="1800" dirty="0" smtClean="0"/>
              <a:t>Abhishek Jaiswal</a:t>
            </a:r>
            <a:endParaRPr lang="en-US" sz="1800" dirty="0"/>
          </a:p>
        </p:txBody>
      </p:sp>
    </p:spTree>
    <p:extLst>
      <p:ext uri="{BB962C8B-B14F-4D97-AF65-F5344CB8AC3E}">
        <p14:creationId xmlns:p14="http://schemas.microsoft.com/office/powerpoint/2010/main" val="9514226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x4kwIPD.Ui49DERf1kZ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33Q8bdFrkCOw.EgVD1DM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x4kwIPD.Ui49DERf1kZ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x4kwIPD.Ui49DERf1kZX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33Q8bdFrkCOw.EgVD1D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33Q8bdFrkCOw.EgVD1DMw"/>
</p:tagLst>
</file>

<file path=ppt/tags/tag5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Capgemini NA ppt template_8-2015">
  <a:themeElements>
    <a:clrScheme name="Custom 4">
      <a:dk1>
        <a:sysClr val="windowText" lastClr="000000"/>
      </a:dk1>
      <a:lt1>
        <a:sysClr val="window" lastClr="FFFFFF"/>
      </a:lt1>
      <a:dk2>
        <a:srgbClr val="969696"/>
      </a:dk2>
      <a:lt2>
        <a:srgbClr val="C0C0C0"/>
      </a:lt2>
      <a:accent1>
        <a:srgbClr val="263147"/>
      </a:accent1>
      <a:accent2>
        <a:srgbClr val="009ACC"/>
      </a:accent2>
      <a:accent3>
        <a:srgbClr val="70AD47"/>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C982485968675458993C1EE631F161B" ma:contentTypeVersion="" ma:contentTypeDescription="Create a new document." ma:contentTypeScope="" ma:versionID="20f31cc8f510ff24ac4543f84ee1e06a">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28EA845-0D5B-465B-A796-ACDDD66D23ED}">
  <ds:schemaRefs>
    <ds:schemaRef ds:uri="http://schemas.microsoft.com/sharepoint/v3/contenttype/forms"/>
  </ds:schemaRefs>
</ds:datastoreItem>
</file>

<file path=customXml/itemProps2.xml><?xml version="1.0" encoding="utf-8"?>
<ds:datastoreItem xmlns:ds="http://schemas.openxmlformats.org/officeDocument/2006/customXml" ds:itemID="{D6EE172D-5CEF-41D3-9E14-A4ACB4DDE0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BC49093A-5734-48D8-BD86-56215D7280D6}">
  <ds:schemaRefs>
    <ds:schemaRef ds:uri="http://schemas.microsoft.com/office/infopath/2007/PartnerControls"/>
    <ds:schemaRef ds:uri="http://schemas.microsoft.com/office/2006/metadata/properties"/>
    <ds:schemaRef ds:uri="http://purl.org/dc/dcmitype/"/>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Capgemini NA ppt template_8-2015</Template>
  <TotalTime>11343</TotalTime>
  <Words>197</Words>
  <Application>Microsoft Office PowerPoint</Application>
  <PresentationFormat>On-screen Show (4:3)</PresentationFormat>
  <Paragraphs>37</Paragraphs>
  <Slides>1</Slides>
  <Notes>1</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9" baseType="lpstr">
      <vt:lpstr>Arial</vt:lpstr>
      <vt:lpstr>Arial Narrow</vt:lpstr>
      <vt:lpstr>Calibri</vt:lpstr>
      <vt:lpstr>Wingdings</vt:lpstr>
      <vt:lpstr>Capgemini NA ppt template_8-2015</vt:lpstr>
      <vt:lpstr>Closing slides</vt:lpstr>
      <vt:lpstr>Custom Design</vt:lpstr>
      <vt:lpstr>think-cell Slide</vt:lpstr>
      <vt:lpstr>Abhishek Jaiswal</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2 Lines Maximum</dc:title>
  <dc:creator>Abhishek</dc:creator>
  <cp:lastModifiedBy>trainee</cp:lastModifiedBy>
  <cp:revision>657</cp:revision>
  <dcterms:created xsi:type="dcterms:W3CDTF">2015-08-21T00:50:01Z</dcterms:created>
  <dcterms:modified xsi:type="dcterms:W3CDTF">2018-06-08T14:5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982485968675458993C1EE631F161B</vt:lpwstr>
  </property>
</Properties>
</file>